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60" r:id="rId2"/>
    <p:sldId id="326" r:id="rId3"/>
    <p:sldId id="312" r:id="rId4"/>
    <p:sldId id="327" r:id="rId5"/>
    <p:sldId id="328" r:id="rId6"/>
    <p:sldId id="329" r:id="rId7"/>
    <p:sldId id="330" r:id="rId8"/>
    <p:sldId id="332" r:id="rId9"/>
    <p:sldId id="331"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5AE35"/>
    <a:srgbClr val="B11C27"/>
    <a:srgbClr val="66023C"/>
    <a:srgbClr val="F2F2F2"/>
    <a:srgbClr val="AF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0" autoAdjust="0"/>
    <p:restoredTop sz="94660"/>
  </p:normalViewPr>
  <p:slideViewPr>
    <p:cSldViewPr snapToGrid="0" showGuides="1">
      <p:cViewPr>
        <p:scale>
          <a:sx n="150" d="100"/>
          <a:sy n="150" d="100"/>
        </p:scale>
        <p:origin x="3954" y="235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3BC40-6362-4B0E-8E37-C2769FA794F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A672672-7891-4DAF-A115-F15D0AF16D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D775F93-6812-4477-9283-FB40986F95E3}"/>
              </a:ext>
            </a:extLst>
          </p:cNvPr>
          <p:cNvSpPr>
            <a:spLocks noGrp="1"/>
          </p:cNvSpPr>
          <p:nvPr>
            <p:ph type="dt" sz="half" idx="10"/>
          </p:nvPr>
        </p:nvSpPr>
        <p:spPr/>
        <p:txBody>
          <a:bodyPr/>
          <a:lstStyle/>
          <a:p>
            <a:fld id="{544CFCC6-EAA5-411E-ABF3-D8E92FFCED55}" type="datetimeFigureOut">
              <a:rPr lang="en-US" smtClean="0"/>
              <a:t>3/12/2020</a:t>
            </a:fld>
            <a:endParaRPr lang="en-US"/>
          </a:p>
        </p:txBody>
      </p:sp>
      <p:sp>
        <p:nvSpPr>
          <p:cNvPr id="5" name="Footer Placeholder 4">
            <a:extLst>
              <a:ext uri="{FF2B5EF4-FFF2-40B4-BE49-F238E27FC236}">
                <a16:creationId xmlns:a16="http://schemas.microsoft.com/office/drawing/2014/main" id="{6DBF7756-44D3-451E-BB87-D627DDEC0B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DF3C44-60DE-4C27-A5BD-24B79720E23F}"/>
              </a:ext>
            </a:extLst>
          </p:cNvPr>
          <p:cNvSpPr>
            <a:spLocks noGrp="1"/>
          </p:cNvSpPr>
          <p:nvPr>
            <p:ph type="sldNum" sz="quarter" idx="12"/>
          </p:nvPr>
        </p:nvSpPr>
        <p:spPr/>
        <p:txBody>
          <a:bodyPr/>
          <a:lstStyle/>
          <a:p>
            <a:fld id="{2493631D-C52C-4452-9233-0381D3A5081D}" type="slidenum">
              <a:rPr lang="en-US" smtClean="0"/>
              <a:t>‹#›</a:t>
            </a:fld>
            <a:endParaRPr lang="en-US"/>
          </a:p>
        </p:txBody>
      </p:sp>
    </p:spTree>
    <p:extLst>
      <p:ext uri="{BB962C8B-B14F-4D97-AF65-F5344CB8AC3E}">
        <p14:creationId xmlns:p14="http://schemas.microsoft.com/office/powerpoint/2010/main" val="2236584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584B2-3866-44C0-BD83-B18A4D796D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C00839F-8980-4F8A-B1E7-500AE7E6856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1E4B94-CA9B-41C4-BDA1-A6DB7B1EAF65}"/>
              </a:ext>
            </a:extLst>
          </p:cNvPr>
          <p:cNvSpPr>
            <a:spLocks noGrp="1"/>
          </p:cNvSpPr>
          <p:nvPr>
            <p:ph type="dt" sz="half" idx="10"/>
          </p:nvPr>
        </p:nvSpPr>
        <p:spPr/>
        <p:txBody>
          <a:bodyPr/>
          <a:lstStyle/>
          <a:p>
            <a:fld id="{544CFCC6-EAA5-411E-ABF3-D8E92FFCED55}" type="datetimeFigureOut">
              <a:rPr lang="en-US" smtClean="0"/>
              <a:t>3/12/2020</a:t>
            </a:fld>
            <a:endParaRPr lang="en-US"/>
          </a:p>
        </p:txBody>
      </p:sp>
      <p:sp>
        <p:nvSpPr>
          <p:cNvPr id="5" name="Footer Placeholder 4">
            <a:extLst>
              <a:ext uri="{FF2B5EF4-FFF2-40B4-BE49-F238E27FC236}">
                <a16:creationId xmlns:a16="http://schemas.microsoft.com/office/drawing/2014/main" id="{21796271-D40D-4E27-8E1F-4FB5D108FB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DA7C88-8890-404C-AD51-EC5A7483E433}"/>
              </a:ext>
            </a:extLst>
          </p:cNvPr>
          <p:cNvSpPr>
            <a:spLocks noGrp="1"/>
          </p:cNvSpPr>
          <p:nvPr>
            <p:ph type="sldNum" sz="quarter" idx="12"/>
          </p:nvPr>
        </p:nvSpPr>
        <p:spPr/>
        <p:txBody>
          <a:bodyPr/>
          <a:lstStyle/>
          <a:p>
            <a:fld id="{2493631D-C52C-4452-9233-0381D3A5081D}" type="slidenum">
              <a:rPr lang="en-US" smtClean="0"/>
              <a:t>‹#›</a:t>
            </a:fld>
            <a:endParaRPr lang="en-US"/>
          </a:p>
        </p:txBody>
      </p:sp>
    </p:spTree>
    <p:extLst>
      <p:ext uri="{BB962C8B-B14F-4D97-AF65-F5344CB8AC3E}">
        <p14:creationId xmlns:p14="http://schemas.microsoft.com/office/powerpoint/2010/main" val="11115858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567ACFE-41D4-4D58-A8B7-87C8179D8B1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231B9FE-7523-4B7D-B712-3E2AC68FACE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969622-E275-430E-BAF1-E3BC2B3CC033}"/>
              </a:ext>
            </a:extLst>
          </p:cNvPr>
          <p:cNvSpPr>
            <a:spLocks noGrp="1"/>
          </p:cNvSpPr>
          <p:nvPr>
            <p:ph type="dt" sz="half" idx="10"/>
          </p:nvPr>
        </p:nvSpPr>
        <p:spPr/>
        <p:txBody>
          <a:bodyPr/>
          <a:lstStyle/>
          <a:p>
            <a:fld id="{544CFCC6-EAA5-411E-ABF3-D8E92FFCED55}" type="datetimeFigureOut">
              <a:rPr lang="en-US" smtClean="0"/>
              <a:t>3/12/2020</a:t>
            </a:fld>
            <a:endParaRPr lang="en-US"/>
          </a:p>
        </p:txBody>
      </p:sp>
      <p:sp>
        <p:nvSpPr>
          <p:cNvPr id="5" name="Footer Placeholder 4">
            <a:extLst>
              <a:ext uri="{FF2B5EF4-FFF2-40B4-BE49-F238E27FC236}">
                <a16:creationId xmlns:a16="http://schemas.microsoft.com/office/drawing/2014/main" id="{ABFE9001-84CB-449E-A6F2-95BB074D12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28C61D-CADF-4684-995B-8408C2B5A1DF}"/>
              </a:ext>
            </a:extLst>
          </p:cNvPr>
          <p:cNvSpPr>
            <a:spLocks noGrp="1"/>
          </p:cNvSpPr>
          <p:nvPr>
            <p:ph type="sldNum" sz="quarter" idx="12"/>
          </p:nvPr>
        </p:nvSpPr>
        <p:spPr/>
        <p:txBody>
          <a:bodyPr/>
          <a:lstStyle/>
          <a:p>
            <a:fld id="{2493631D-C52C-4452-9233-0381D3A5081D}" type="slidenum">
              <a:rPr lang="en-US" smtClean="0"/>
              <a:t>‹#›</a:t>
            </a:fld>
            <a:endParaRPr lang="en-US"/>
          </a:p>
        </p:txBody>
      </p:sp>
    </p:spTree>
    <p:extLst>
      <p:ext uri="{BB962C8B-B14F-4D97-AF65-F5344CB8AC3E}">
        <p14:creationId xmlns:p14="http://schemas.microsoft.com/office/powerpoint/2010/main" val="37003834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696F32-AF58-45C6-99B5-6701560D382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AF49FB-D699-4D39-822A-D93C14443D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C6036A-8D54-4F31-843B-22B6ACB252E5}"/>
              </a:ext>
            </a:extLst>
          </p:cNvPr>
          <p:cNvSpPr>
            <a:spLocks noGrp="1"/>
          </p:cNvSpPr>
          <p:nvPr>
            <p:ph type="dt" sz="half" idx="10"/>
          </p:nvPr>
        </p:nvSpPr>
        <p:spPr/>
        <p:txBody>
          <a:bodyPr/>
          <a:lstStyle/>
          <a:p>
            <a:fld id="{544CFCC6-EAA5-411E-ABF3-D8E92FFCED55}" type="datetimeFigureOut">
              <a:rPr lang="en-US" smtClean="0"/>
              <a:t>3/12/2020</a:t>
            </a:fld>
            <a:endParaRPr lang="en-US"/>
          </a:p>
        </p:txBody>
      </p:sp>
      <p:sp>
        <p:nvSpPr>
          <p:cNvPr id="5" name="Footer Placeholder 4">
            <a:extLst>
              <a:ext uri="{FF2B5EF4-FFF2-40B4-BE49-F238E27FC236}">
                <a16:creationId xmlns:a16="http://schemas.microsoft.com/office/drawing/2014/main" id="{80430F23-0461-42E0-A9C9-D678122288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F6E3FB-A3B8-4D1F-9702-E11FB7B52582}"/>
              </a:ext>
            </a:extLst>
          </p:cNvPr>
          <p:cNvSpPr>
            <a:spLocks noGrp="1"/>
          </p:cNvSpPr>
          <p:nvPr>
            <p:ph type="sldNum" sz="quarter" idx="12"/>
          </p:nvPr>
        </p:nvSpPr>
        <p:spPr/>
        <p:txBody>
          <a:bodyPr/>
          <a:lstStyle/>
          <a:p>
            <a:fld id="{2493631D-C52C-4452-9233-0381D3A5081D}" type="slidenum">
              <a:rPr lang="en-US" smtClean="0"/>
              <a:t>‹#›</a:t>
            </a:fld>
            <a:endParaRPr lang="en-US"/>
          </a:p>
        </p:txBody>
      </p:sp>
    </p:spTree>
    <p:extLst>
      <p:ext uri="{BB962C8B-B14F-4D97-AF65-F5344CB8AC3E}">
        <p14:creationId xmlns:p14="http://schemas.microsoft.com/office/powerpoint/2010/main" val="298818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271FF-D979-429D-88F0-CC03C950B1A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39CA94A-4FFA-4AA6-9FDE-D7C6AFED299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12BD74-0FE8-40A9-B8E6-19F9119ADAD0}"/>
              </a:ext>
            </a:extLst>
          </p:cNvPr>
          <p:cNvSpPr>
            <a:spLocks noGrp="1"/>
          </p:cNvSpPr>
          <p:nvPr>
            <p:ph type="dt" sz="half" idx="10"/>
          </p:nvPr>
        </p:nvSpPr>
        <p:spPr/>
        <p:txBody>
          <a:bodyPr/>
          <a:lstStyle/>
          <a:p>
            <a:fld id="{544CFCC6-EAA5-411E-ABF3-D8E92FFCED55}" type="datetimeFigureOut">
              <a:rPr lang="en-US" smtClean="0"/>
              <a:t>3/12/2020</a:t>
            </a:fld>
            <a:endParaRPr lang="en-US"/>
          </a:p>
        </p:txBody>
      </p:sp>
      <p:sp>
        <p:nvSpPr>
          <p:cNvPr id="5" name="Footer Placeholder 4">
            <a:extLst>
              <a:ext uri="{FF2B5EF4-FFF2-40B4-BE49-F238E27FC236}">
                <a16:creationId xmlns:a16="http://schemas.microsoft.com/office/drawing/2014/main" id="{C8DE27F2-47B2-49B6-A98E-99BEDB3226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2A8D93-1411-4441-ADE9-58C0A9C7AA29}"/>
              </a:ext>
            </a:extLst>
          </p:cNvPr>
          <p:cNvSpPr>
            <a:spLocks noGrp="1"/>
          </p:cNvSpPr>
          <p:nvPr>
            <p:ph type="sldNum" sz="quarter" idx="12"/>
          </p:nvPr>
        </p:nvSpPr>
        <p:spPr/>
        <p:txBody>
          <a:bodyPr/>
          <a:lstStyle/>
          <a:p>
            <a:fld id="{2493631D-C52C-4452-9233-0381D3A5081D}" type="slidenum">
              <a:rPr lang="en-US" smtClean="0"/>
              <a:t>‹#›</a:t>
            </a:fld>
            <a:endParaRPr lang="en-US"/>
          </a:p>
        </p:txBody>
      </p:sp>
    </p:spTree>
    <p:extLst>
      <p:ext uri="{BB962C8B-B14F-4D97-AF65-F5344CB8AC3E}">
        <p14:creationId xmlns:p14="http://schemas.microsoft.com/office/powerpoint/2010/main" val="45186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5AC0F-1901-4F1C-B7C2-82FD342C71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C57B6B7-B419-4EF1-A982-E1DDB24561E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34376C1-6B1E-4A2E-95D9-39FA7AB29F0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7B435B-0323-4007-904C-4E3144472367}"/>
              </a:ext>
            </a:extLst>
          </p:cNvPr>
          <p:cNvSpPr>
            <a:spLocks noGrp="1"/>
          </p:cNvSpPr>
          <p:nvPr>
            <p:ph type="dt" sz="half" idx="10"/>
          </p:nvPr>
        </p:nvSpPr>
        <p:spPr/>
        <p:txBody>
          <a:bodyPr/>
          <a:lstStyle/>
          <a:p>
            <a:fld id="{544CFCC6-EAA5-411E-ABF3-D8E92FFCED55}" type="datetimeFigureOut">
              <a:rPr lang="en-US" smtClean="0"/>
              <a:t>3/12/2020</a:t>
            </a:fld>
            <a:endParaRPr lang="en-US"/>
          </a:p>
        </p:txBody>
      </p:sp>
      <p:sp>
        <p:nvSpPr>
          <p:cNvPr id="6" name="Footer Placeholder 5">
            <a:extLst>
              <a:ext uri="{FF2B5EF4-FFF2-40B4-BE49-F238E27FC236}">
                <a16:creationId xmlns:a16="http://schemas.microsoft.com/office/drawing/2014/main" id="{7612F00F-9D0E-4BD8-A7B2-DC262F9111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3DB006-3730-415D-A20E-8BEAD685C4C7}"/>
              </a:ext>
            </a:extLst>
          </p:cNvPr>
          <p:cNvSpPr>
            <a:spLocks noGrp="1"/>
          </p:cNvSpPr>
          <p:nvPr>
            <p:ph type="sldNum" sz="quarter" idx="12"/>
          </p:nvPr>
        </p:nvSpPr>
        <p:spPr/>
        <p:txBody>
          <a:bodyPr/>
          <a:lstStyle/>
          <a:p>
            <a:fld id="{2493631D-C52C-4452-9233-0381D3A5081D}" type="slidenum">
              <a:rPr lang="en-US" smtClean="0"/>
              <a:t>‹#›</a:t>
            </a:fld>
            <a:endParaRPr lang="en-US"/>
          </a:p>
        </p:txBody>
      </p:sp>
    </p:spTree>
    <p:extLst>
      <p:ext uri="{BB962C8B-B14F-4D97-AF65-F5344CB8AC3E}">
        <p14:creationId xmlns:p14="http://schemas.microsoft.com/office/powerpoint/2010/main" val="6542015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B1C11-EB6D-4B76-A496-1F4BFF3B75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4E50C3E-FD57-44F7-9F47-682D723294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32E716F-F791-4821-B7EE-647C7DF5869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E6D1375-67EE-472E-827A-6A8B4C04FC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5703AAF-4095-4510-8AEC-82A79383BAA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E71793-9A78-4769-AC81-BB3BED5849CD}"/>
              </a:ext>
            </a:extLst>
          </p:cNvPr>
          <p:cNvSpPr>
            <a:spLocks noGrp="1"/>
          </p:cNvSpPr>
          <p:nvPr>
            <p:ph type="dt" sz="half" idx="10"/>
          </p:nvPr>
        </p:nvSpPr>
        <p:spPr/>
        <p:txBody>
          <a:bodyPr/>
          <a:lstStyle/>
          <a:p>
            <a:fld id="{544CFCC6-EAA5-411E-ABF3-D8E92FFCED55}" type="datetimeFigureOut">
              <a:rPr lang="en-US" smtClean="0"/>
              <a:t>3/12/2020</a:t>
            </a:fld>
            <a:endParaRPr lang="en-US"/>
          </a:p>
        </p:txBody>
      </p:sp>
      <p:sp>
        <p:nvSpPr>
          <p:cNvPr id="8" name="Footer Placeholder 7">
            <a:extLst>
              <a:ext uri="{FF2B5EF4-FFF2-40B4-BE49-F238E27FC236}">
                <a16:creationId xmlns:a16="http://schemas.microsoft.com/office/drawing/2014/main" id="{E9A6BE4B-AD94-4E1F-8EFD-84F2ED2EB49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B243978-19DE-49BC-AFA1-183F51046313}"/>
              </a:ext>
            </a:extLst>
          </p:cNvPr>
          <p:cNvSpPr>
            <a:spLocks noGrp="1"/>
          </p:cNvSpPr>
          <p:nvPr>
            <p:ph type="sldNum" sz="quarter" idx="12"/>
          </p:nvPr>
        </p:nvSpPr>
        <p:spPr/>
        <p:txBody>
          <a:bodyPr/>
          <a:lstStyle/>
          <a:p>
            <a:fld id="{2493631D-C52C-4452-9233-0381D3A5081D}" type="slidenum">
              <a:rPr lang="en-US" smtClean="0"/>
              <a:t>‹#›</a:t>
            </a:fld>
            <a:endParaRPr lang="en-US"/>
          </a:p>
        </p:txBody>
      </p:sp>
    </p:spTree>
    <p:extLst>
      <p:ext uri="{BB962C8B-B14F-4D97-AF65-F5344CB8AC3E}">
        <p14:creationId xmlns:p14="http://schemas.microsoft.com/office/powerpoint/2010/main" val="659519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35F16-27A5-4A97-B5BE-87E05DEC66B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7B3F850-26A6-44DF-B0DF-46F9F13B5B33}"/>
              </a:ext>
            </a:extLst>
          </p:cNvPr>
          <p:cNvSpPr>
            <a:spLocks noGrp="1"/>
          </p:cNvSpPr>
          <p:nvPr>
            <p:ph type="dt" sz="half" idx="10"/>
          </p:nvPr>
        </p:nvSpPr>
        <p:spPr/>
        <p:txBody>
          <a:bodyPr/>
          <a:lstStyle/>
          <a:p>
            <a:fld id="{544CFCC6-EAA5-411E-ABF3-D8E92FFCED55}" type="datetimeFigureOut">
              <a:rPr lang="en-US" smtClean="0"/>
              <a:t>3/12/2020</a:t>
            </a:fld>
            <a:endParaRPr lang="en-US"/>
          </a:p>
        </p:txBody>
      </p:sp>
      <p:sp>
        <p:nvSpPr>
          <p:cNvPr id="4" name="Footer Placeholder 3">
            <a:extLst>
              <a:ext uri="{FF2B5EF4-FFF2-40B4-BE49-F238E27FC236}">
                <a16:creationId xmlns:a16="http://schemas.microsoft.com/office/drawing/2014/main" id="{E70CD217-D5DE-4037-8663-14A9B978698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31917C-434A-4BA3-8A25-F26247B6A39E}"/>
              </a:ext>
            </a:extLst>
          </p:cNvPr>
          <p:cNvSpPr>
            <a:spLocks noGrp="1"/>
          </p:cNvSpPr>
          <p:nvPr>
            <p:ph type="sldNum" sz="quarter" idx="12"/>
          </p:nvPr>
        </p:nvSpPr>
        <p:spPr/>
        <p:txBody>
          <a:bodyPr/>
          <a:lstStyle/>
          <a:p>
            <a:fld id="{2493631D-C52C-4452-9233-0381D3A5081D}" type="slidenum">
              <a:rPr lang="en-US" smtClean="0"/>
              <a:t>‹#›</a:t>
            </a:fld>
            <a:endParaRPr lang="en-US"/>
          </a:p>
        </p:txBody>
      </p:sp>
    </p:spTree>
    <p:extLst>
      <p:ext uri="{BB962C8B-B14F-4D97-AF65-F5344CB8AC3E}">
        <p14:creationId xmlns:p14="http://schemas.microsoft.com/office/powerpoint/2010/main" val="1284560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460808-5CC3-4FF0-BFE4-60696CC345A3}"/>
              </a:ext>
            </a:extLst>
          </p:cNvPr>
          <p:cNvSpPr>
            <a:spLocks noGrp="1"/>
          </p:cNvSpPr>
          <p:nvPr>
            <p:ph type="dt" sz="half" idx="10"/>
          </p:nvPr>
        </p:nvSpPr>
        <p:spPr/>
        <p:txBody>
          <a:bodyPr/>
          <a:lstStyle/>
          <a:p>
            <a:fld id="{544CFCC6-EAA5-411E-ABF3-D8E92FFCED55}" type="datetimeFigureOut">
              <a:rPr lang="en-US" smtClean="0"/>
              <a:t>3/12/2020</a:t>
            </a:fld>
            <a:endParaRPr lang="en-US"/>
          </a:p>
        </p:txBody>
      </p:sp>
      <p:sp>
        <p:nvSpPr>
          <p:cNvPr id="3" name="Footer Placeholder 2">
            <a:extLst>
              <a:ext uri="{FF2B5EF4-FFF2-40B4-BE49-F238E27FC236}">
                <a16:creationId xmlns:a16="http://schemas.microsoft.com/office/drawing/2014/main" id="{D7519A0A-2730-49B2-8CB4-73E12DA61BD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BA38FF-41BB-4F99-9610-725834290579}"/>
              </a:ext>
            </a:extLst>
          </p:cNvPr>
          <p:cNvSpPr>
            <a:spLocks noGrp="1"/>
          </p:cNvSpPr>
          <p:nvPr>
            <p:ph type="sldNum" sz="quarter" idx="12"/>
          </p:nvPr>
        </p:nvSpPr>
        <p:spPr/>
        <p:txBody>
          <a:bodyPr/>
          <a:lstStyle/>
          <a:p>
            <a:fld id="{2493631D-C52C-4452-9233-0381D3A5081D}" type="slidenum">
              <a:rPr lang="en-US" smtClean="0"/>
              <a:t>‹#›</a:t>
            </a:fld>
            <a:endParaRPr lang="en-US"/>
          </a:p>
        </p:txBody>
      </p:sp>
    </p:spTree>
    <p:extLst>
      <p:ext uri="{BB962C8B-B14F-4D97-AF65-F5344CB8AC3E}">
        <p14:creationId xmlns:p14="http://schemas.microsoft.com/office/powerpoint/2010/main" val="1757510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18C7E-97E8-43C6-BB95-B924822812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11D67A8-919E-44B0-867B-27052810D2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7A63924-593F-4BB1-B629-A86F9B0D32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45137D-A2DA-406D-AAD8-DA46B76876A2}"/>
              </a:ext>
            </a:extLst>
          </p:cNvPr>
          <p:cNvSpPr>
            <a:spLocks noGrp="1"/>
          </p:cNvSpPr>
          <p:nvPr>
            <p:ph type="dt" sz="half" idx="10"/>
          </p:nvPr>
        </p:nvSpPr>
        <p:spPr/>
        <p:txBody>
          <a:bodyPr/>
          <a:lstStyle/>
          <a:p>
            <a:fld id="{544CFCC6-EAA5-411E-ABF3-D8E92FFCED55}" type="datetimeFigureOut">
              <a:rPr lang="en-US" smtClean="0"/>
              <a:t>3/12/2020</a:t>
            </a:fld>
            <a:endParaRPr lang="en-US"/>
          </a:p>
        </p:txBody>
      </p:sp>
      <p:sp>
        <p:nvSpPr>
          <p:cNvPr id="6" name="Footer Placeholder 5">
            <a:extLst>
              <a:ext uri="{FF2B5EF4-FFF2-40B4-BE49-F238E27FC236}">
                <a16:creationId xmlns:a16="http://schemas.microsoft.com/office/drawing/2014/main" id="{7ADD4066-71EF-4451-A9AC-9C03843E8A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F66D20-CFCD-468D-B2BA-5B11D82C64ED}"/>
              </a:ext>
            </a:extLst>
          </p:cNvPr>
          <p:cNvSpPr>
            <a:spLocks noGrp="1"/>
          </p:cNvSpPr>
          <p:nvPr>
            <p:ph type="sldNum" sz="quarter" idx="12"/>
          </p:nvPr>
        </p:nvSpPr>
        <p:spPr/>
        <p:txBody>
          <a:bodyPr/>
          <a:lstStyle/>
          <a:p>
            <a:fld id="{2493631D-C52C-4452-9233-0381D3A5081D}" type="slidenum">
              <a:rPr lang="en-US" smtClean="0"/>
              <a:t>‹#›</a:t>
            </a:fld>
            <a:endParaRPr lang="en-US"/>
          </a:p>
        </p:txBody>
      </p:sp>
    </p:spTree>
    <p:extLst>
      <p:ext uri="{BB962C8B-B14F-4D97-AF65-F5344CB8AC3E}">
        <p14:creationId xmlns:p14="http://schemas.microsoft.com/office/powerpoint/2010/main" val="2846107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B3E2D-EE50-4497-97C3-D812C2E3BF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E5789AC-D83C-4152-910D-40D3F30E973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705D6F5-075D-4C47-ADCB-B8CC79A7FB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E76FDE-3862-419D-A6D8-C8BBD4352582}"/>
              </a:ext>
            </a:extLst>
          </p:cNvPr>
          <p:cNvSpPr>
            <a:spLocks noGrp="1"/>
          </p:cNvSpPr>
          <p:nvPr>
            <p:ph type="dt" sz="half" idx="10"/>
          </p:nvPr>
        </p:nvSpPr>
        <p:spPr/>
        <p:txBody>
          <a:bodyPr/>
          <a:lstStyle/>
          <a:p>
            <a:fld id="{544CFCC6-EAA5-411E-ABF3-D8E92FFCED55}" type="datetimeFigureOut">
              <a:rPr lang="en-US" smtClean="0"/>
              <a:t>3/12/2020</a:t>
            </a:fld>
            <a:endParaRPr lang="en-US"/>
          </a:p>
        </p:txBody>
      </p:sp>
      <p:sp>
        <p:nvSpPr>
          <p:cNvPr id="6" name="Footer Placeholder 5">
            <a:extLst>
              <a:ext uri="{FF2B5EF4-FFF2-40B4-BE49-F238E27FC236}">
                <a16:creationId xmlns:a16="http://schemas.microsoft.com/office/drawing/2014/main" id="{9BA959D9-1F6D-4D72-BA4C-63A384F81F9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B15078-2531-4CDC-A9AD-E00C26B3F30B}"/>
              </a:ext>
            </a:extLst>
          </p:cNvPr>
          <p:cNvSpPr>
            <a:spLocks noGrp="1"/>
          </p:cNvSpPr>
          <p:nvPr>
            <p:ph type="sldNum" sz="quarter" idx="12"/>
          </p:nvPr>
        </p:nvSpPr>
        <p:spPr/>
        <p:txBody>
          <a:bodyPr/>
          <a:lstStyle/>
          <a:p>
            <a:fld id="{2493631D-C52C-4452-9233-0381D3A5081D}" type="slidenum">
              <a:rPr lang="en-US" smtClean="0"/>
              <a:t>‹#›</a:t>
            </a:fld>
            <a:endParaRPr lang="en-US"/>
          </a:p>
        </p:txBody>
      </p:sp>
    </p:spTree>
    <p:extLst>
      <p:ext uri="{BB962C8B-B14F-4D97-AF65-F5344CB8AC3E}">
        <p14:creationId xmlns:p14="http://schemas.microsoft.com/office/powerpoint/2010/main" val="25285551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E2FF64A-EC74-4F82-AB22-C85DDAB87C3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FEE944D-894C-40A9-8195-688E245A50D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C783DB-F9A1-4DEB-A6B0-6159813F55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4CFCC6-EAA5-411E-ABF3-D8E92FFCED55}" type="datetimeFigureOut">
              <a:rPr lang="en-US" smtClean="0"/>
              <a:t>3/12/2020</a:t>
            </a:fld>
            <a:endParaRPr lang="en-US"/>
          </a:p>
        </p:txBody>
      </p:sp>
      <p:sp>
        <p:nvSpPr>
          <p:cNvPr id="5" name="Footer Placeholder 4">
            <a:extLst>
              <a:ext uri="{FF2B5EF4-FFF2-40B4-BE49-F238E27FC236}">
                <a16:creationId xmlns:a16="http://schemas.microsoft.com/office/drawing/2014/main" id="{AD416D23-B531-4C7F-83DC-1DCD1B00C4E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B9E5526-DCA7-4B79-98B3-487B4FD077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93631D-C52C-4452-9233-0381D3A5081D}" type="slidenum">
              <a:rPr lang="en-US" smtClean="0"/>
              <a:t>‹#›</a:t>
            </a:fld>
            <a:endParaRPr lang="en-US"/>
          </a:p>
        </p:txBody>
      </p:sp>
    </p:spTree>
    <p:extLst>
      <p:ext uri="{BB962C8B-B14F-4D97-AF65-F5344CB8AC3E}">
        <p14:creationId xmlns:p14="http://schemas.microsoft.com/office/powerpoint/2010/main" val="41457910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3.jfi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jfi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xml"/><Relationship Id="rId7" Type="http://schemas.openxmlformats.org/officeDocument/2006/relationships/image" Target="../media/image3.jfi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 Id="rId9"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jfi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98229D7-A0C3-4F84-AA54-7874F824E7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5" imgW="631" imgH="631" progId="TCLayout.ActiveDocument.1">
                  <p:embed/>
                </p:oleObj>
              </mc:Choice>
              <mc:Fallback>
                <p:oleObj name="think-cell Slide" r:id="rId5" imgW="631" imgH="631" progId="TCLayout.ActiveDocument.1">
                  <p:embed/>
                  <p:pic>
                    <p:nvPicPr>
                      <p:cNvPr id="11" name="Object 10" hidden="1">
                        <a:extLst>
                          <a:ext uri="{FF2B5EF4-FFF2-40B4-BE49-F238E27FC236}">
                            <a16:creationId xmlns:a16="http://schemas.microsoft.com/office/drawing/2014/main" id="{598229D7-A0C3-4F84-AA54-7874F824E7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907B91-3B04-4138-B21A-24294518DB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ym typeface="+mn-lt"/>
            </a:endParaRPr>
          </a:p>
        </p:txBody>
      </p:sp>
      <p:sp>
        <p:nvSpPr>
          <p:cNvPr id="129" name="TextBox 128">
            <a:extLst>
              <a:ext uri="{FF2B5EF4-FFF2-40B4-BE49-F238E27FC236}">
                <a16:creationId xmlns:a16="http://schemas.microsoft.com/office/drawing/2014/main" id="{4DC65E4E-399A-43A7-85FE-541A4E4199CF}"/>
              </a:ext>
            </a:extLst>
          </p:cNvPr>
          <p:cNvSpPr txBox="1"/>
          <p:nvPr/>
        </p:nvSpPr>
        <p:spPr>
          <a:xfrm>
            <a:off x="175490" y="181525"/>
            <a:ext cx="11739417" cy="369332"/>
          </a:xfrm>
          <a:prstGeom prst="rect">
            <a:avLst/>
          </a:prstGeom>
          <a:noFill/>
        </p:spPr>
        <p:txBody>
          <a:bodyPr wrap="square" rtlCol="0">
            <a:spAutoFit/>
          </a:bodyPr>
          <a:lstStyle/>
          <a:p>
            <a:pPr algn="l"/>
            <a:r>
              <a:rPr lang="en-US" b="1" u="sng" dirty="0">
                <a:latin typeface="Arial" panose="020B0604020202020204" pitchFamily="34" charset="0"/>
                <a:cs typeface="Arial" panose="020B0604020202020204" pitchFamily="34" charset="0"/>
              </a:rPr>
              <a:t>Introduction</a:t>
            </a:r>
          </a:p>
        </p:txBody>
      </p:sp>
      <p:sp>
        <p:nvSpPr>
          <p:cNvPr id="2" name="Oval 1">
            <a:extLst>
              <a:ext uri="{FF2B5EF4-FFF2-40B4-BE49-F238E27FC236}">
                <a16:creationId xmlns:a16="http://schemas.microsoft.com/office/drawing/2014/main" id="{BEAB6345-7E21-48B8-95E2-576788BFAAE5}"/>
              </a:ext>
            </a:extLst>
          </p:cNvPr>
          <p:cNvSpPr/>
          <p:nvPr/>
        </p:nvSpPr>
        <p:spPr>
          <a:xfrm>
            <a:off x="1843563" y="1524000"/>
            <a:ext cx="8504874" cy="3934537"/>
          </a:xfrm>
          <a:prstGeom prst="ellipse">
            <a:avLst/>
          </a:prstGeom>
          <a:noFill/>
          <a:ln w="57150">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400" b="1" dirty="0">
              <a:solidFill>
                <a:schemeClr val="tx1"/>
              </a:solidFill>
              <a:latin typeface="Arial" panose="020B0604020202020204" pitchFamily="34" charset="0"/>
              <a:cs typeface="Arial" panose="020B0604020202020204" pitchFamily="34" charset="0"/>
            </a:endParaRPr>
          </a:p>
          <a:p>
            <a:pPr algn="ctr"/>
            <a:r>
              <a:rPr lang="en-US" sz="2400" b="1" dirty="0">
                <a:solidFill>
                  <a:schemeClr val="tx1"/>
                </a:solidFill>
                <a:latin typeface="Arial" panose="020B0604020202020204" pitchFamily="34" charset="0"/>
                <a:cs typeface="Arial" panose="020B0604020202020204" pitchFamily="34" charset="0"/>
              </a:rPr>
              <a:t>Cheap and available methods to maintain quality of life and limit spread of Covid19</a:t>
            </a:r>
          </a:p>
        </p:txBody>
      </p:sp>
      <p:pic>
        <p:nvPicPr>
          <p:cNvPr id="3" name="Picture 2">
            <a:extLst>
              <a:ext uri="{FF2B5EF4-FFF2-40B4-BE49-F238E27FC236}">
                <a16:creationId xmlns:a16="http://schemas.microsoft.com/office/drawing/2014/main" id="{D708B666-14A5-4587-8E8F-0E30D5564345}"/>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143500" y="3729250"/>
            <a:ext cx="1905000" cy="1905000"/>
          </a:xfrm>
          <a:prstGeom prst="rect">
            <a:avLst/>
          </a:prstGeom>
        </p:spPr>
      </p:pic>
      <p:sp>
        <p:nvSpPr>
          <p:cNvPr id="13" name="Rectangle 12">
            <a:extLst>
              <a:ext uri="{FF2B5EF4-FFF2-40B4-BE49-F238E27FC236}">
                <a16:creationId xmlns:a16="http://schemas.microsoft.com/office/drawing/2014/main" id="{B22241CA-C7C1-48B3-BD96-4AD46F3B6669}"/>
              </a:ext>
            </a:extLst>
          </p:cNvPr>
          <p:cNvSpPr/>
          <p:nvPr/>
        </p:nvSpPr>
        <p:spPr>
          <a:xfrm>
            <a:off x="10962942" y="149879"/>
            <a:ext cx="1002766" cy="266378"/>
          </a:xfrm>
          <a:prstGeom prst="rect">
            <a:avLst/>
          </a:pr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1 of 9 </a:t>
            </a:r>
          </a:p>
        </p:txBody>
      </p:sp>
    </p:spTree>
    <p:extLst>
      <p:ext uri="{BB962C8B-B14F-4D97-AF65-F5344CB8AC3E}">
        <p14:creationId xmlns:p14="http://schemas.microsoft.com/office/powerpoint/2010/main" val="2678864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98229D7-A0C3-4F84-AA54-7874F824E7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631" imgH="631" progId="TCLayout.ActiveDocument.1">
                  <p:embed/>
                </p:oleObj>
              </mc:Choice>
              <mc:Fallback>
                <p:oleObj name="think-cell Slide" r:id="rId5" imgW="631" imgH="631" progId="TCLayout.ActiveDocument.1">
                  <p:embed/>
                  <p:pic>
                    <p:nvPicPr>
                      <p:cNvPr id="11" name="Object 10" hidden="1">
                        <a:extLst>
                          <a:ext uri="{FF2B5EF4-FFF2-40B4-BE49-F238E27FC236}">
                            <a16:creationId xmlns:a16="http://schemas.microsoft.com/office/drawing/2014/main" id="{598229D7-A0C3-4F84-AA54-7874F824E7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907B91-3B04-4138-B21A-24294518DB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ym typeface="+mn-lt"/>
            </a:endParaRPr>
          </a:p>
        </p:txBody>
      </p:sp>
      <p:sp>
        <p:nvSpPr>
          <p:cNvPr id="129" name="TextBox 128">
            <a:extLst>
              <a:ext uri="{FF2B5EF4-FFF2-40B4-BE49-F238E27FC236}">
                <a16:creationId xmlns:a16="http://schemas.microsoft.com/office/drawing/2014/main" id="{4DC65E4E-399A-43A7-85FE-541A4E4199CF}"/>
              </a:ext>
            </a:extLst>
          </p:cNvPr>
          <p:cNvSpPr txBox="1"/>
          <p:nvPr/>
        </p:nvSpPr>
        <p:spPr>
          <a:xfrm>
            <a:off x="175490" y="181525"/>
            <a:ext cx="11739417" cy="369332"/>
          </a:xfrm>
          <a:prstGeom prst="rect">
            <a:avLst/>
          </a:prstGeom>
          <a:noFill/>
        </p:spPr>
        <p:txBody>
          <a:bodyPr wrap="square" rtlCol="0">
            <a:spAutoFit/>
          </a:bodyPr>
          <a:lstStyle/>
          <a:p>
            <a:pPr algn="l"/>
            <a:r>
              <a:rPr lang="en-US" b="1" u="sng" dirty="0">
                <a:latin typeface="Arial" panose="020B0604020202020204" pitchFamily="34" charset="0"/>
                <a:cs typeface="Arial" panose="020B0604020202020204" pitchFamily="34" charset="0"/>
              </a:rPr>
              <a:t>Table of Contents</a:t>
            </a:r>
          </a:p>
        </p:txBody>
      </p:sp>
      <p:sp>
        <p:nvSpPr>
          <p:cNvPr id="16" name="Rectangle 15">
            <a:extLst>
              <a:ext uri="{FF2B5EF4-FFF2-40B4-BE49-F238E27FC236}">
                <a16:creationId xmlns:a16="http://schemas.microsoft.com/office/drawing/2014/main" id="{C5B602EA-7020-48E0-8534-5632D7268036}"/>
              </a:ext>
            </a:extLst>
          </p:cNvPr>
          <p:cNvSpPr/>
          <p:nvPr/>
        </p:nvSpPr>
        <p:spPr>
          <a:xfrm>
            <a:off x="10962942" y="149879"/>
            <a:ext cx="1002766" cy="266378"/>
          </a:xfrm>
          <a:prstGeom prst="rect">
            <a:avLst/>
          </a:pr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 of 9 </a:t>
            </a:r>
          </a:p>
        </p:txBody>
      </p:sp>
      <p:graphicFrame>
        <p:nvGraphicFramePr>
          <p:cNvPr id="9" name="Table 7">
            <a:extLst>
              <a:ext uri="{FF2B5EF4-FFF2-40B4-BE49-F238E27FC236}">
                <a16:creationId xmlns:a16="http://schemas.microsoft.com/office/drawing/2014/main" id="{10C84BED-5C96-4336-9156-2B6012254B53}"/>
              </a:ext>
            </a:extLst>
          </p:cNvPr>
          <p:cNvGraphicFramePr>
            <a:graphicFrameLocks noGrp="1"/>
          </p:cNvGraphicFramePr>
          <p:nvPr>
            <p:extLst>
              <p:ext uri="{D42A27DB-BD31-4B8C-83A1-F6EECF244321}">
                <p14:modId xmlns:p14="http://schemas.microsoft.com/office/powerpoint/2010/main" val="1718091715"/>
              </p:ext>
            </p:extLst>
          </p:nvPr>
        </p:nvGraphicFramePr>
        <p:xfrm>
          <a:off x="595061" y="1275624"/>
          <a:ext cx="4592794" cy="686526"/>
        </p:xfrm>
        <a:graphic>
          <a:graphicData uri="http://schemas.openxmlformats.org/drawingml/2006/table">
            <a:tbl>
              <a:tblPr firstRow="1" bandRow="1">
                <a:tableStyleId>{5C22544A-7EE6-4342-B048-85BDC9FD1C3A}</a:tableStyleId>
              </a:tblPr>
              <a:tblGrid>
                <a:gridCol w="1833814">
                  <a:extLst>
                    <a:ext uri="{9D8B030D-6E8A-4147-A177-3AD203B41FA5}">
                      <a16:colId xmlns:a16="http://schemas.microsoft.com/office/drawing/2014/main" val="1468568871"/>
                    </a:ext>
                  </a:extLst>
                </a:gridCol>
                <a:gridCol w="2758980">
                  <a:extLst>
                    <a:ext uri="{9D8B030D-6E8A-4147-A177-3AD203B41FA5}">
                      <a16:colId xmlns:a16="http://schemas.microsoft.com/office/drawing/2014/main" val="3402873440"/>
                    </a:ext>
                  </a:extLst>
                </a:gridCol>
              </a:tblGrid>
              <a:tr h="686526">
                <a:tc>
                  <a:txBody>
                    <a:bodyPr/>
                    <a:lstStyle/>
                    <a:p>
                      <a:pPr algn="ctr"/>
                      <a:r>
                        <a:rPr lang="en-US" sz="1400" dirty="0"/>
                        <a:t>Page 3</a:t>
                      </a:r>
                    </a:p>
                  </a:txBody>
                  <a:tcPr anchor="ctr">
                    <a:lnB w="38100" cmpd="sng">
                      <a:noFill/>
                    </a:lnB>
                    <a:solidFill>
                      <a:srgbClr val="66023C"/>
                    </a:solidFill>
                  </a:tcPr>
                </a:tc>
                <a:tc>
                  <a:txBody>
                    <a:bodyPr/>
                    <a:lstStyle/>
                    <a:p>
                      <a:pPr marL="0" indent="0" algn="l">
                        <a:buFont typeface="Arial" panose="020B0604020202020204" pitchFamily="34" charset="0"/>
                        <a:buNone/>
                      </a:pPr>
                      <a:r>
                        <a:rPr lang="en-US" sz="1400" b="0" dirty="0">
                          <a:solidFill>
                            <a:schemeClr val="tx1"/>
                          </a:solidFill>
                        </a:rPr>
                        <a:t>Executive Summary</a:t>
                      </a:r>
                    </a:p>
                  </a:txBody>
                  <a:tcPr anchor="ctr">
                    <a:lnB w="38100" cmpd="sng">
                      <a:noFill/>
                    </a:lnB>
                    <a:noFill/>
                  </a:tcPr>
                </a:tc>
                <a:extLst>
                  <a:ext uri="{0D108BD9-81ED-4DB2-BD59-A6C34878D82A}">
                    <a16:rowId xmlns:a16="http://schemas.microsoft.com/office/drawing/2014/main" val="3703857929"/>
                  </a:ext>
                </a:extLst>
              </a:tr>
            </a:tbl>
          </a:graphicData>
        </a:graphic>
      </p:graphicFrame>
      <p:graphicFrame>
        <p:nvGraphicFramePr>
          <p:cNvPr id="10" name="Table 7">
            <a:extLst>
              <a:ext uri="{FF2B5EF4-FFF2-40B4-BE49-F238E27FC236}">
                <a16:creationId xmlns:a16="http://schemas.microsoft.com/office/drawing/2014/main" id="{C2B1B626-7E89-41AB-B464-F7666550C4C1}"/>
              </a:ext>
            </a:extLst>
          </p:cNvPr>
          <p:cNvGraphicFramePr>
            <a:graphicFrameLocks noGrp="1"/>
          </p:cNvGraphicFramePr>
          <p:nvPr>
            <p:extLst>
              <p:ext uri="{D42A27DB-BD31-4B8C-83A1-F6EECF244321}">
                <p14:modId xmlns:p14="http://schemas.microsoft.com/office/powerpoint/2010/main" val="1736897342"/>
              </p:ext>
            </p:extLst>
          </p:nvPr>
        </p:nvGraphicFramePr>
        <p:xfrm>
          <a:off x="595061" y="2513874"/>
          <a:ext cx="4592794" cy="686526"/>
        </p:xfrm>
        <a:graphic>
          <a:graphicData uri="http://schemas.openxmlformats.org/drawingml/2006/table">
            <a:tbl>
              <a:tblPr firstRow="1" bandRow="1">
                <a:tableStyleId>{5C22544A-7EE6-4342-B048-85BDC9FD1C3A}</a:tableStyleId>
              </a:tblPr>
              <a:tblGrid>
                <a:gridCol w="1833814">
                  <a:extLst>
                    <a:ext uri="{9D8B030D-6E8A-4147-A177-3AD203B41FA5}">
                      <a16:colId xmlns:a16="http://schemas.microsoft.com/office/drawing/2014/main" val="1468568871"/>
                    </a:ext>
                  </a:extLst>
                </a:gridCol>
                <a:gridCol w="2758980">
                  <a:extLst>
                    <a:ext uri="{9D8B030D-6E8A-4147-A177-3AD203B41FA5}">
                      <a16:colId xmlns:a16="http://schemas.microsoft.com/office/drawing/2014/main" val="3402873440"/>
                    </a:ext>
                  </a:extLst>
                </a:gridCol>
              </a:tblGrid>
              <a:tr h="686526">
                <a:tc>
                  <a:txBody>
                    <a:bodyPr/>
                    <a:lstStyle/>
                    <a:p>
                      <a:pPr algn="ctr"/>
                      <a:r>
                        <a:rPr lang="en-US" sz="1400" dirty="0"/>
                        <a:t>Page 4 - 6</a:t>
                      </a:r>
                    </a:p>
                  </a:txBody>
                  <a:tcPr anchor="ctr">
                    <a:lnB w="38100" cmpd="sng">
                      <a:noFill/>
                    </a:lnB>
                    <a:solidFill>
                      <a:srgbClr val="66023C"/>
                    </a:solidFill>
                  </a:tcPr>
                </a:tc>
                <a:tc>
                  <a:txBody>
                    <a:bodyPr/>
                    <a:lstStyle/>
                    <a:p>
                      <a:pPr marL="0" indent="0" algn="l">
                        <a:buFont typeface="Arial" panose="020B0604020202020204" pitchFamily="34" charset="0"/>
                        <a:buNone/>
                      </a:pPr>
                      <a:r>
                        <a:rPr lang="en-US" sz="1400" b="0" dirty="0">
                          <a:solidFill>
                            <a:schemeClr val="tx1"/>
                          </a:solidFill>
                        </a:rPr>
                        <a:t>What to buy and from where?</a:t>
                      </a:r>
                    </a:p>
                  </a:txBody>
                  <a:tcPr anchor="ctr">
                    <a:lnB w="38100" cmpd="sng">
                      <a:noFill/>
                    </a:lnB>
                    <a:noFill/>
                  </a:tcPr>
                </a:tc>
                <a:extLst>
                  <a:ext uri="{0D108BD9-81ED-4DB2-BD59-A6C34878D82A}">
                    <a16:rowId xmlns:a16="http://schemas.microsoft.com/office/drawing/2014/main" val="3703857929"/>
                  </a:ext>
                </a:extLst>
              </a:tr>
            </a:tbl>
          </a:graphicData>
        </a:graphic>
      </p:graphicFrame>
      <p:graphicFrame>
        <p:nvGraphicFramePr>
          <p:cNvPr id="12" name="Table 7">
            <a:extLst>
              <a:ext uri="{FF2B5EF4-FFF2-40B4-BE49-F238E27FC236}">
                <a16:creationId xmlns:a16="http://schemas.microsoft.com/office/drawing/2014/main" id="{312ED9E8-5905-41A2-B2C6-0431CC050418}"/>
              </a:ext>
            </a:extLst>
          </p:cNvPr>
          <p:cNvGraphicFramePr>
            <a:graphicFrameLocks noGrp="1"/>
          </p:cNvGraphicFramePr>
          <p:nvPr>
            <p:extLst>
              <p:ext uri="{D42A27DB-BD31-4B8C-83A1-F6EECF244321}">
                <p14:modId xmlns:p14="http://schemas.microsoft.com/office/powerpoint/2010/main" val="2373789031"/>
              </p:ext>
            </p:extLst>
          </p:nvPr>
        </p:nvGraphicFramePr>
        <p:xfrm>
          <a:off x="595061" y="3707130"/>
          <a:ext cx="4592794" cy="686526"/>
        </p:xfrm>
        <a:graphic>
          <a:graphicData uri="http://schemas.openxmlformats.org/drawingml/2006/table">
            <a:tbl>
              <a:tblPr firstRow="1" bandRow="1">
                <a:tableStyleId>{5C22544A-7EE6-4342-B048-85BDC9FD1C3A}</a:tableStyleId>
              </a:tblPr>
              <a:tblGrid>
                <a:gridCol w="1833814">
                  <a:extLst>
                    <a:ext uri="{9D8B030D-6E8A-4147-A177-3AD203B41FA5}">
                      <a16:colId xmlns:a16="http://schemas.microsoft.com/office/drawing/2014/main" val="1468568871"/>
                    </a:ext>
                  </a:extLst>
                </a:gridCol>
                <a:gridCol w="2758980">
                  <a:extLst>
                    <a:ext uri="{9D8B030D-6E8A-4147-A177-3AD203B41FA5}">
                      <a16:colId xmlns:a16="http://schemas.microsoft.com/office/drawing/2014/main" val="3402873440"/>
                    </a:ext>
                  </a:extLst>
                </a:gridCol>
              </a:tblGrid>
              <a:tr h="686526">
                <a:tc>
                  <a:txBody>
                    <a:bodyPr/>
                    <a:lstStyle/>
                    <a:p>
                      <a:pPr algn="ctr"/>
                      <a:r>
                        <a:rPr lang="en-US" sz="1400" dirty="0"/>
                        <a:t>Page 7 - 8</a:t>
                      </a:r>
                    </a:p>
                  </a:txBody>
                  <a:tcPr anchor="ctr">
                    <a:lnB w="38100" cmpd="sng">
                      <a:noFill/>
                    </a:lnB>
                    <a:solidFill>
                      <a:srgbClr val="66023C"/>
                    </a:solidFill>
                  </a:tcPr>
                </a:tc>
                <a:tc>
                  <a:txBody>
                    <a:bodyPr/>
                    <a:lstStyle/>
                    <a:p>
                      <a:pPr marL="0" indent="0" algn="l">
                        <a:buFont typeface="Arial" panose="020B0604020202020204" pitchFamily="34" charset="0"/>
                        <a:buNone/>
                      </a:pPr>
                      <a:r>
                        <a:rPr lang="en-US" sz="1400" b="0" dirty="0">
                          <a:solidFill>
                            <a:schemeClr val="tx1"/>
                          </a:solidFill>
                        </a:rPr>
                        <a:t>How to construct?</a:t>
                      </a:r>
                    </a:p>
                  </a:txBody>
                  <a:tcPr anchor="ctr">
                    <a:lnB w="38100" cmpd="sng">
                      <a:noFill/>
                    </a:lnB>
                    <a:noFill/>
                  </a:tcPr>
                </a:tc>
                <a:extLst>
                  <a:ext uri="{0D108BD9-81ED-4DB2-BD59-A6C34878D82A}">
                    <a16:rowId xmlns:a16="http://schemas.microsoft.com/office/drawing/2014/main" val="3703857929"/>
                  </a:ext>
                </a:extLst>
              </a:tr>
            </a:tbl>
          </a:graphicData>
        </a:graphic>
      </p:graphicFrame>
      <p:graphicFrame>
        <p:nvGraphicFramePr>
          <p:cNvPr id="13" name="Table 7">
            <a:extLst>
              <a:ext uri="{FF2B5EF4-FFF2-40B4-BE49-F238E27FC236}">
                <a16:creationId xmlns:a16="http://schemas.microsoft.com/office/drawing/2014/main" id="{FC2FA43E-9335-49B5-B92B-78F139A47096}"/>
              </a:ext>
            </a:extLst>
          </p:cNvPr>
          <p:cNvGraphicFramePr>
            <a:graphicFrameLocks noGrp="1"/>
          </p:cNvGraphicFramePr>
          <p:nvPr>
            <p:extLst>
              <p:ext uri="{D42A27DB-BD31-4B8C-83A1-F6EECF244321}">
                <p14:modId xmlns:p14="http://schemas.microsoft.com/office/powerpoint/2010/main" val="1458793669"/>
              </p:ext>
            </p:extLst>
          </p:nvPr>
        </p:nvGraphicFramePr>
        <p:xfrm>
          <a:off x="595061" y="4900386"/>
          <a:ext cx="4592794" cy="686526"/>
        </p:xfrm>
        <a:graphic>
          <a:graphicData uri="http://schemas.openxmlformats.org/drawingml/2006/table">
            <a:tbl>
              <a:tblPr firstRow="1" bandRow="1">
                <a:tableStyleId>{5C22544A-7EE6-4342-B048-85BDC9FD1C3A}</a:tableStyleId>
              </a:tblPr>
              <a:tblGrid>
                <a:gridCol w="1833814">
                  <a:extLst>
                    <a:ext uri="{9D8B030D-6E8A-4147-A177-3AD203B41FA5}">
                      <a16:colId xmlns:a16="http://schemas.microsoft.com/office/drawing/2014/main" val="1468568871"/>
                    </a:ext>
                  </a:extLst>
                </a:gridCol>
                <a:gridCol w="2758980">
                  <a:extLst>
                    <a:ext uri="{9D8B030D-6E8A-4147-A177-3AD203B41FA5}">
                      <a16:colId xmlns:a16="http://schemas.microsoft.com/office/drawing/2014/main" val="3402873440"/>
                    </a:ext>
                  </a:extLst>
                </a:gridCol>
              </a:tblGrid>
              <a:tr h="686526">
                <a:tc>
                  <a:txBody>
                    <a:bodyPr/>
                    <a:lstStyle/>
                    <a:p>
                      <a:pPr algn="ctr"/>
                      <a:r>
                        <a:rPr lang="en-US" sz="1400" dirty="0"/>
                        <a:t>Page 9</a:t>
                      </a:r>
                    </a:p>
                  </a:txBody>
                  <a:tcPr anchor="ctr">
                    <a:lnB w="38100" cmpd="sng">
                      <a:noFill/>
                    </a:lnB>
                    <a:solidFill>
                      <a:srgbClr val="66023C"/>
                    </a:solidFill>
                  </a:tcPr>
                </a:tc>
                <a:tc>
                  <a:txBody>
                    <a:bodyPr/>
                    <a:lstStyle/>
                    <a:p>
                      <a:pPr marL="0" indent="0" algn="l">
                        <a:buFont typeface="Arial" panose="020B0604020202020204" pitchFamily="34" charset="0"/>
                        <a:buNone/>
                      </a:pPr>
                      <a:r>
                        <a:rPr lang="en-US" sz="1400" b="0" dirty="0">
                          <a:solidFill>
                            <a:schemeClr val="tx1"/>
                          </a:solidFill>
                        </a:rPr>
                        <a:t>Where’s the evidence?</a:t>
                      </a:r>
                    </a:p>
                  </a:txBody>
                  <a:tcPr anchor="ctr">
                    <a:lnB w="38100" cmpd="sng">
                      <a:noFill/>
                    </a:lnB>
                    <a:noFill/>
                  </a:tcPr>
                </a:tc>
                <a:extLst>
                  <a:ext uri="{0D108BD9-81ED-4DB2-BD59-A6C34878D82A}">
                    <a16:rowId xmlns:a16="http://schemas.microsoft.com/office/drawing/2014/main" val="3703857929"/>
                  </a:ext>
                </a:extLst>
              </a:tr>
            </a:tbl>
          </a:graphicData>
        </a:graphic>
      </p:graphicFrame>
    </p:spTree>
    <p:extLst>
      <p:ext uri="{BB962C8B-B14F-4D97-AF65-F5344CB8AC3E}">
        <p14:creationId xmlns:p14="http://schemas.microsoft.com/office/powerpoint/2010/main" val="410918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98229D7-A0C3-4F84-AA54-7874F824E7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631" imgH="631" progId="TCLayout.ActiveDocument.1">
                  <p:embed/>
                </p:oleObj>
              </mc:Choice>
              <mc:Fallback>
                <p:oleObj name="think-cell Slide" r:id="rId5" imgW="631" imgH="631" progId="TCLayout.ActiveDocument.1">
                  <p:embed/>
                  <p:pic>
                    <p:nvPicPr>
                      <p:cNvPr id="11" name="Object 10" hidden="1">
                        <a:extLst>
                          <a:ext uri="{FF2B5EF4-FFF2-40B4-BE49-F238E27FC236}">
                            <a16:creationId xmlns:a16="http://schemas.microsoft.com/office/drawing/2014/main" id="{598229D7-A0C3-4F84-AA54-7874F824E7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907B91-3B04-4138-B21A-24294518DB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ym typeface="+mn-lt"/>
            </a:endParaRPr>
          </a:p>
        </p:txBody>
      </p:sp>
      <p:sp>
        <p:nvSpPr>
          <p:cNvPr id="129" name="TextBox 128">
            <a:extLst>
              <a:ext uri="{FF2B5EF4-FFF2-40B4-BE49-F238E27FC236}">
                <a16:creationId xmlns:a16="http://schemas.microsoft.com/office/drawing/2014/main" id="{4DC65E4E-399A-43A7-85FE-541A4E4199CF}"/>
              </a:ext>
            </a:extLst>
          </p:cNvPr>
          <p:cNvSpPr txBox="1"/>
          <p:nvPr/>
        </p:nvSpPr>
        <p:spPr>
          <a:xfrm>
            <a:off x="175490" y="181525"/>
            <a:ext cx="11739417" cy="369332"/>
          </a:xfrm>
          <a:prstGeom prst="rect">
            <a:avLst/>
          </a:prstGeom>
          <a:noFill/>
        </p:spPr>
        <p:txBody>
          <a:bodyPr wrap="square" rtlCol="0">
            <a:spAutoFit/>
          </a:bodyPr>
          <a:lstStyle/>
          <a:p>
            <a:pPr algn="l"/>
            <a:r>
              <a:rPr lang="en-US" b="1" u="sng" dirty="0">
                <a:latin typeface="Arial" panose="020B0604020202020204" pitchFamily="34" charset="0"/>
                <a:cs typeface="Arial" panose="020B0604020202020204" pitchFamily="34" charset="0"/>
              </a:rPr>
              <a:t>Executive Summary</a:t>
            </a:r>
          </a:p>
        </p:txBody>
      </p:sp>
      <p:sp>
        <p:nvSpPr>
          <p:cNvPr id="16" name="Rectangle 15">
            <a:extLst>
              <a:ext uri="{FF2B5EF4-FFF2-40B4-BE49-F238E27FC236}">
                <a16:creationId xmlns:a16="http://schemas.microsoft.com/office/drawing/2014/main" id="{C5B602EA-7020-48E0-8534-5632D7268036}"/>
              </a:ext>
            </a:extLst>
          </p:cNvPr>
          <p:cNvSpPr/>
          <p:nvPr/>
        </p:nvSpPr>
        <p:spPr>
          <a:xfrm>
            <a:off x="10962942" y="149879"/>
            <a:ext cx="1002766" cy="266378"/>
          </a:xfrm>
          <a:prstGeom prst="rect">
            <a:avLst/>
          </a:pr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3 of 9</a:t>
            </a:r>
          </a:p>
        </p:txBody>
      </p:sp>
      <p:sp>
        <p:nvSpPr>
          <p:cNvPr id="8" name="TextBox 7">
            <a:extLst>
              <a:ext uri="{FF2B5EF4-FFF2-40B4-BE49-F238E27FC236}">
                <a16:creationId xmlns:a16="http://schemas.microsoft.com/office/drawing/2014/main" id="{78AFED32-7E4A-471A-A82D-FAF3C2CE9368}"/>
              </a:ext>
            </a:extLst>
          </p:cNvPr>
          <p:cNvSpPr txBox="1"/>
          <p:nvPr/>
        </p:nvSpPr>
        <p:spPr>
          <a:xfrm>
            <a:off x="226291" y="708183"/>
            <a:ext cx="11739417" cy="307777"/>
          </a:xfrm>
          <a:prstGeom prst="rect">
            <a:avLst/>
          </a:prstGeom>
          <a:noFill/>
        </p:spPr>
        <p:txBody>
          <a:bodyPr wrap="square" rtlCol="0">
            <a:spAutoFit/>
          </a:bodyPr>
          <a:lstStyle/>
          <a:p>
            <a:pPr marL="285750" indent="-285750" algn="l">
              <a:spcBef>
                <a:spcPts val="400"/>
              </a:spcBef>
              <a:spcAft>
                <a:spcPts val="400"/>
              </a:spcAft>
              <a:buFont typeface="Wingdings" panose="05000000000000000000" pitchFamily="2" charset="2"/>
              <a:buChar char="§"/>
            </a:pPr>
            <a:r>
              <a:rPr lang="en-US" sz="1400" b="1" dirty="0">
                <a:latin typeface="Arial" panose="020B0604020202020204" pitchFamily="34" charset="0"/>
                <a:cs typeface="Arial" panose="020B0604020202020204" pitchFamily="34" charset="0"/>
              </a:rPr>
              <a:t>Up to 99.9% of the viruses 20x smaller than the Covid19 can be removed from a room using available products for just $35</a:t>
            </a:r>
          </a:p>
        </p:txBody>
      </p:sp>
      <p:graphicFrame>
        <p:nvGraphicFramePr>
          <p:cNvPr id="23" name="Table 22">
            <a:extLst>
              <a:ext uri="{FF2B5EF4-FFF2-40B4-BE49-F238E27FC236}">
                <a16:creationId xmlns:a16="http://schemas.microsoft.com/office/drawing/2014/main" id="{CED1E8CD-02EF-48D6-9584-5E28C1D88983}"/>
              </a:ext>
            </a:extLst>
          </p:cNvPr>
          <p:cNvGraphicFramePr>
            <a:graphicFrameLocks noGrp="1"/>
          </p:cNvGraphicFramePr>
          <p:nvPr>
            <p:extLst>
              <p:ext uri="{D42A27DB-BD31-4B8C-83A1-F6EECF244321}">
                <p14:modId xmlns:p14="http://schemas.microsoft.com/office/powerpoint/2010/main" val="3646218658"/>
              </p:ext>
            </p:extLst>
          </p:nvPr>
        </p:nvGraphicFramePr>
        <p:xfrm>
          <a:off x="364759" y="2187237"/>
          <a:ext cx="6067792" cy="2483526"/>
        </p:xfrm>
        <a:graphic>
          <a:graphicData uri="http://schemas.openxmlformats.org/drawingml/2006/table">
            <a:tbl>
              <a:tblPr firstRow="1" firstCol="1" bandRow="1">
                <a:tableStyleId>{5C22544A-7EE6-4342-B048-85BDC9FD1C3A}</a:tableStyleId>
              </a:tblPr>
              <a:tblGrid>
                <a:gridCol w="1172569">
                  <a:extLst>
                    <a:ext uri="{9D8B030D-6E8A-4147-A177-3AD203B41FA5}">
                      <a16:colId xmlns:a16="http://schemas.microsoft.com/office/drawing/2014/main" val="1318681184"/>
                    </a:ext>
                  </a:extLst>
                </a:gridCol>
                <a:gridCol w="851724">
                  <a:extLst>
                    <a:ext uri="{9D8B030D-6E8A-4147-A177-3AD203B41FA5}">
                      <a16:colId xmlns:a16="http://schemas.microsoft.com/office/drawing/2014/main" val="4235939734"/>
                    </a:ext>
                  </a:extLst>
                </a:gridCol>
                <a:gridCol w="2430598">
                  <a:extLst>
                    <a:ext uri="{9D8B030D-6E8A-4147-A177-3AD203B41FA5}">
                      <a16:colId xmlns:a16="http://schemas.microsoft.com/office/drawing/2014/main" val="2253768445"/>
                    </a:ext>
                  </a:extLst>
                </a:gridCol>
                <a:gridCol w="1041400">
                  <a:extLst>
                    <a:ext uri="{9D8B030D-6E8A-4147-A177-3AD203B41FA5}">
                      <a16:colId xmlns:a16="http://schemas.microsoft.com/office/drawing/2014/main" val="3237137502"/>
                    </a:ext>
                  </a:extLst>
                </a:gridCol>
                <a:gridCol w="571501">
                  <a:extLst>
                    <a:ext uri="{9D8B030D-6E8A-4147-A177-3AD203B41FA5}">
                      <a16:colId xmlns:a16="http://schemas.microsoft.com/office/drawing/2014/main" val="3351685807"/>
                    </a:ext>
                  </a:extLst>
                </a:gridCol>
              </a:tblGrid>
              <a:tr h="641214">
                <a:tc>
                  <a:txBody>
                    <a:bodyPr/>
                    <a:lstStyle/>
                    <a:p>
                      <a:endParaRPr lang="en-US" dirty="0"/>
                    </a:p>
                  </a:txBody>
                  <a:tcPr>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175" marR="0" algn="ctr">
                        <a:lnSpc>
                          <a:spcPct val="107000"/>
                        </a:lnSpc>
                        <a:spcBef>
                          <a:spcPts val="0"/>
                        </a:spcBef>
                        <a:spcAft>
                          <a:spcPts val="0"/>
                        </a:spcAft>
                      </a:pPr>
                      <a:r>
                        <a:rPr lang="en-US" sz="1000" dirty="0">
                          <a:solidFill>
                            <a:schemeClr val="tx1"/>
                          </a:solidFill>
                          <a:effectLst/>
                        </a:rPr>
                        <a:t>Example </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algn="ctr">
                        <a:lnSpc>
                          <a:spcPct val="107000"/>
                        </a:lnSpc>
                        <a:spcBef>
                          <a:spcPts val="0"/>
                        </a:spcBef>
                        <a:spcAft>
                          <a:spcPts val="0"/>
                        </a:spcAft>
                      </a:pPr>
                      <a:r>
                        <a:rPr lang="en-US" sz="1000" dirty="0">
                          <a:solidFill>
                            <a:schemeClr val="tx1"/>
                          </a:solidFill>
                          <a:effectLst/>
                        </a:rPr>
                        <a:t>Cost</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icture Number</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080833958"/>
                  </a:ext>
                </a:extLst>
              </a:tr>
              <a:tr h="602122">
                <a:tc rowSpan="3">
                  <a:txBody>
                    <a:bodyPr/>
                    <a:lstStyle/>
                    <a:p>
                      <a:pPr marL="0" marR="0" algn="ctr">
                        <a:lnSpc>
                          <a:spcPct val="107000"/>
                        </a:lnSpc>
                        <a:spcBef>
                          <a:spcPts val="0"/>
                        </a:spcBef>
                        <a:spcAft>
                          <a:spcPts val="0"/>
                        </a:spcAft>
                      </a:pPr>
                      <a:r>
                        <a:rPr lang="en-US" sz="1000" b="0" dirty="0">
                          <a:solidFill>
                            <a:schemeClr val="tx1"/>
                          </a:solidFill>
                          <a:effectLst/>
                        </a:rPr>
                        <a:t>Necessary Products</a:t>
                      </a:r>
                      <a:endParaRPr lang="en-US"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7362" marR="87362" marT="43681" marB="43681" anchor="ctr">
                    <a:lnL w="952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algn="ctr">
                        <a:lnSpc>
                          <a:spcPct val="107000"/>
                        </a:lnSpc>
                        <a:spcBef>
                          <a:spcPts val="0"/>
                        </a:spcBef>
                        <a:spcAft>
                          <a:spcPts val="0"/>
                        </a:spcAft>
                      </a:pPr>
                      <a:r>
                        <a:rPr lang="en-US" sz="1000" dirty="0">
                          <a:solidFill>
                            <a:schemeClr val="tx1"/>
                          </a:solidFill>
                          <a:effectLst/>
                        </a:rPr>
                        <a:t>Fan</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635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eneric 20 in. box fa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7.00</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76875355"/>
                  </a:ext>
                </a:extLst>
              </a:tr>
              <a:tr h="620095">
                <a:tc vMerge="1">
                  <a:txBody>
                    <a:bodyPr/>
                    <a:lstStyle/>
                    <a:p>
                      <a:endParaRPr lang="en-US"/>
                    </a:p>
                  </a:txBody>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ir Filter</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635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neywell 20 in. x 20 in.  Superior Allergen Pleated FPR 9 Air Filter</a:t>
                      </a:r>
                    </a:p>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M 20 in x 20 in. 1500 MPR Ultra Allergen </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7.00</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3910978"/>
                  </a:ext>
                </a:extLst>
              </a:tr>
              <a:tr h="620095">
                <a:tc vMerge="1">
                  <a:txBody>
                    <a:bodyPr/>
                    <a:lstStyle/>
                    <a:p>
                      <a:pPr marL="0" marR="0" algn="ctr">
                        <a:lnSpc>
                          <a:spcPct val="107000"/>
                        </a:lnSpc>
                        <a:spcBef>
                          <a:spcPts val="0"/>
                        </a:spcBef>
                        <a:spcAft>
                          <a:spcPts val="0"/>
                        </a:spcAft>
                      </a:pPr>
                      <a:endParaRPr lang="en-US"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7362" marR="87362" marT="43681" marB="43681" anchor="ctr">
                    <a:lnL w="952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pe</a:t>
                      </a:r>
                    </a:p>
                  </a:txBody>
                  <a:tcPr marL="22927" marR="22136" marT="25299" marB="0" anchor="ctr">
                    <a:lnL w="635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hipping tape</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00</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03696598"/>
                  </a:ext>
                </a:extLst>
              </a:tr>
            </a:tbl>
          </a:graphicData>
        </a:graphic>
      </p:graphicFrame>
      <p:sp>
        <p:nvSpPr>
          <p:cNvPr id="28" name="TextBox 27">
            <a:extLst>
              <a:ext uri="{FF2B5EF4-FFF2-40B4-BE49-F238E27FC236}">
                <a16:creationId xmlns:a16="http://schemas.microsoft.com/office/drawing/2014/main" id="{FBBF1E7F-70C4-4C8C-BFDD-787A2C40EF8A}"/>
              </a:ext>
            </a:extLst>
          </p:cNvPr>
          <p:cNvSpPr txBox="1"/>
          <p:nvPr/>
        </p:nvSpPr>
        <p:spPr>
          <a:xfrm>
            <a:off x="226291" y="6159937"/>
            <a:ext cx="11739417" cy="578882"/>
          </a:xfrm>
          <a:prstGeom prst="roundRect">
            <a:avLst/>
          </a:prstGeom>
          <a:noFill/>
          <a:ln>
            <a:solidFill>
              <a:srgbClr val="EAEAEA"/>
            </a:solidFill>
          </a:ln>
        </p:spPr>
        <p:txBody>
          <a:bodyPr wrap="square" rtlCol="0" anchor="ctr">
            <a:spAutoFit/>
          </a:bodyPr>
          <a:lstStyle/>
          <a:p>
            <a:r>
              <a:rPr lang="en-US" sz="700" i="1" dirty="0"/>
              <a:t>Sources:</a:t>
            </a:r>
          </a:p>
          <a:p>
            <a:pPr marL="228600" indent="-228600">
              <a:buAutoNum type="arabicParenR"/>
            </a:pPr>
            <a:r>
              <a:rPr lang="en-US" sz="700" i="1" dirty="0"/>
              <a:t>Fan by Taylor Baldwin: www.taylorbaldwinstudio.com</a:t>
            </a:r>
          </a:p>
          <a:p>
            <a:pPr marL="228600" indent="-228600">
              <a:buAutoNum type="arabicParenR"/>
            </a:pPr>
            <a:r>
              <a:rPr lang="en-US" sz="700" i="1" dirty="0"/>
              <a:t>Air filter by Subaru</a:t>
            </a:r>
          </a:p>
          <a:p>
            <a:pPr marL="228600" indent="-228600">
              <a:buAutoNum type="arabicParenR"/>
            </a:pPr>
            <a:r>
              <a:rPr lang="en-US" sz="700" i="1" dirty="0"/>
              <a:t>Tape by Duck Brand:  https://www.duckbrand.com/uploads/activities/pdf/Packaging-Tape-Gun-Instructions-FINAL-copy.pdf</a:t>
            </a:r>
          </a:p>
        </p:txBody>
      </p:sp>
      <p:grpSp>
        <p:nvGrpSpPr>
          <p:cNvPr id="26" name="Group 25">
            <a:extLst>
              <a:ext uri="{FF2B5EF4-FFF2-40B4-BE49-F238E27FC236}">
                <a16:creationId xmlns:a16="http://schemas.microsoft.com/office/drawing/2014/main" id="{8906EC98-8E9A-4A7C-B10E-2B00E43942D2}"/>
              </a:ext>
            </a:extLst>
          </p:cNvPr>
          <p:cNvGrpSpPr/>
          <p:nvPr/>
        </p:nvGrpSpPr>
        <p:grpSpPr>
          <a:xfrm>
            <a:off x="9147217" y="1011544"/>
            <a:ext cx="2767690" cy="2533763"/>
            <a:chOff x="9059551" y="1216365"/>
            <a:chExt cx="2767690" cy="2533763"/>
          </a:xfrm>
        </p:grpSpPr>
        <p:pic>
          <p:nvPicPr>
            <p:cNvPr id="12" name="Picture 11" descr="A picture containing text, drawing&#10;&#10;Description automatically generated">
              <a:extLst>
                <a:ext uri="{FF2B5EF4-FFF2-40B4-BE49-F238E27FC236}">
                  <a16:creationId xmlns:a16="http://schemas.microsoft.com/office/drawing/2014/main" id="{D21C4B17-57E7-47CB-8716-2F33645C411A}"/>
                </a:ext>
              </a:extLst>
            </p:cNvPr>
            <p:cNvPicPr>
              <a:picLocks noChangeAspect="1"/>
            </p:cNvPicPr>
            <p:nvPr/>
          </p:nvPicPr>
          <p:blipFill rotWithShape="1">
            <a:blip r:embed="rId7">
              <a:extLst>
                <a:ext uri="{28A0092B-C50C-407E-A947-70E740481C1C}">
                  <a14:useLocalDpi xmlns:a14="http://schemas.microsoft.com/office/drawing/2010/main" val="0"/>
                </a:ext>
              </a:extLst>
            </a:blip>
            <a:srcRect l="21962" t="21508" r="2416" b="9261"/>
            <a:stretch/>
          </p:blipFill>
          <p:spPr>
            <a:xfrm>
              <a:off x="9059551" y="1216365"/>
              <a:ext cx="2767690" cy="2533763"/>
            </a:xfrm>
            <a:prstGeom prst="rect">
              <a:avLst/>
            </a:prstGeom>
          </p:spPr>
        </p:pic>
        <p:sp>
          <p:nvSpPr>
            <p:cNvPr id="25" name="Rectangle 24">
              <a:extLst>
                <a:ext uri="{FF2B5EF4-FFF2-40B4-BE49-F238E27FC236}">
                  <a16:creationId xmlns:a16="http://schemas.microsoft.com/office/drawing/2014/main" id="{4424E9A1-3FAB-4F14-9636-FB330A8A518D}"/>
                </a:ext>
              </a:extLst>
            </p:cNvPr>
            <p:cNvSpPr/>
            <p:nvPr/>
          </p:nvSpPr>
          <p:spPr>
            <a:xfrm>
              <a:off x="10917510" y="1299305"/>
              <a:ext cx="391278" cy="2509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1)</a:t>
              </a:r>
            </a:p>
          </p:txBody>
        </p:sp>
      </p:grpSp>
      <p:grpSp>
        <p:nvGrpSpPr>
          <p:cNvPr id="30" name="Group 29">
            <a:extLst>
              <a:ext uri="{FF2B5EF4-FFF2-40B4-BE49-F238E27FC236}">
                <a16:creationId xmlns:a16="http://schemas.microsoft.com/office/drawing/2014/main" id="{E6C8CCD2-4DD9-41B4-9C9A-7105F8BFDB6A}"/>
              </a:ext>
            </a:extLst>
          </p:cNvPr>
          <p:cNvGrpSpPr/>
          <p:nvPr/>
        </p:nvGrpSpPr>
        <p:grpSpPr>
          <a:xfrm>
            <a:off x="6996022" y="2826251"/>
            <a:ext cx="1760752" cy="2137245"/>
            <a:chOff x="6868432" y="2907058"/>
            <a:chExt cx="1760752" cy="2137245"/>
          </a:xfrm>
        </p:grpSpPr>
        <p:pic>
          <p:nvPicPr>
            <p:cNvPr id="22" name="Picture 21" descr="A picture containing drawing, game&#10;&#10;Description automatically generated">
              <a:extLst>
                <a:ext uri="{FF2B5EF4-FFF2-40B4-BE49-F238E27FC236}">
                  <a16:creationId xmlns:a16="http://schemas.microsoft.com/office/drawing/2014/main" id="{1E5F6527-44E1-4FE6-8563-A677AA76CA71}"/>
                </a:ext>
              </a:extLst>
            </p:cNvPr>
            <p:cNvPicPr>
              <a:picLocks noChangeAspect="1"/>
            </p:cNvPicPr>
            <p:nvPr/>
          </p:nvPicPr>
          <p:blipFill rotWithShape="1">
            <a:blip r:embed="rId8">
              <a:extLst>
                <a:ext uri="{28A0092B-C50C-407E-A947-70E740481C1C}">
                  <a14:useLocalDpi xmlns:a14="http://schemas.microsoft.com/office/drawing/2010/main" val="0"/>
                </a:ext>
              </a:extLst>
            </a:blip>
            <a:srcRect l="19378" r="18998"/>
            <a:stretch/>
          </p:blipFill>
          <p:spPr>
            <a:xfrm>
              <a:off x="6868432" y="2907058"/>
              <a:ext cx="1760752" cy="2137245"/>
            </a:xfrm>
            <a:prstGeom prst="rect">
              <a:avLst/>
            </a:prstGeom>
          </p:spPr>
        </p:pic>
        <p:sp>
          <p:nvSpPr>
            <p:cNvPr id="34" name="Rectangle 33">
              <a:extLst>
                <a:ext uri="{FF2B5EF4-FFF2-40B4-BE49-F238E27FC236}">
                  <a16:creationId xmlns:a16="http://schemas.microsoft.com/office/drawing/2014/main" id="{41C8A7CC-8332-4D72-A923-702737AB0130}"/>
                </a:ext>
              </a:extLst>
            </p:cNvPr>
            <p:cNvSpPr/>
            <p:nvPr/>
          </p:nvSpPr>
          <p:spPr>
            <a:xfrm>
              <a:off x="8118313" y="3184217"/>
              <a:ext cx="391278" cy="2509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2)</a:t>
              </a:r>
            </a:p>
          </p:txBody>
        </p:sp>
      </p:grpSp>
      <p:grpSp>
        <p:nvGrpSpPr>
          <p:cNvPr id="39" name="Group 38">
            <a:extLst>
              <a:ext uri="{FF2B5EF4-FFF2-40B4-BE49-F238E27FC236}">
                <a16:creationId xmlns:a16="http://schemas.microsoft.com/office/drawing/2014/main" id="{99351AFA-62E0-4575-83E6-93F028E859EB}"/>
              </a:ext>
            </a:extLst>
          </p:cNvPr>
          <p:cNvGrpSpPr/>
          <p:nvPr/>
        </p:nvGrpSpPr>
        <p:grpSpPr>
          <a:xfrm>
            <a:off x="9451895" y="3960042"/>
            <a:ext cx="2158333" cy="2400300"/>
            <a:chOff x="6699412" y="3763346"/>
            <a:chExt cx="2158333" cy="2400300"/>
          </a:xfrm>
        </p:grpSpPr>
        <p:pic>
          <p:nvPicPr>
            <p:cNvPr id="37" name="Picture 36">
              <a:extLst>
                <a:ext uri="{FF2B5EF4-FFF2-40B4-BE49-F238E27FC236}">
                  <a16:creationId xmlns:a16="http://schemas.microsoft.com/office/drawing/2014/main" id="{A330C602-33DA-41CE-B81F-90B734454A2B}"/>
                </a:ext>
              </a:extLst>
            </p:cNvPr>
            <p:cNvPicPr>
              <a:picLocks noChangeAspect="1"/>
            </p:cNvPicPr>
            <p:nvPr/>
          </p:nvPicPr>
          <p:blipFill>
            <a:blip r:embed="rId9"/>
            <a:stretch>
              <a:fillRect/>
            </a:stretch>
          </p:blipFill>
          <p:spPr>
            <a:xfrm>
              <a:off x="6733670" y="3763346"/>
              <a:ext cx="2124075" cy="2400300"/>
            </a:xfrm>
            <a:prstGeom prst="rect">
              <a:avLst/>
            </a:prstGeom>
          </p:spPr>
        </p:pic>
        <p:sp>
          <p:nvSpPr>
            <p:cNvPr id="38" name="Rectangle 37">
              <a:extLst>
                <a:ext uri="{FF2B5EF4-FFF2-40B4-BE49-F238E27FC236}">
                  <a16:creationId xmlns:a16="http://schemas.microsoft.com/office/drawing/2014/main" id="{E8E864F8-0E27-42EA-91A8-38CAC29E6B75}"/>
                </a:ext>
              </a:extLst>
            </p:cNvPr>
            <p:cNvSpPr/>
            <p:nvPr/>
          </p:nvSpPr>
          <p:spPr>
            <a:xfrm>
              <a:off x="6733670" y="3894873"/>
              <a:ext cx="189644" cy="2416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9B5F25EE-EFC7-43A0-9F86-797A8245C341}"/>
                </a:ext>
              </a:extLst>
            </p:cNvPr>
            <p:cNvSpPr/>
            <p:nvPr/>
          </p:nvSpPr>
          <p:spPr>
            <a:xfrm>
              <a:off x="6699412" y="3894873"/>
              <a:ext cx="391278" cy="2509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3)</a:t>
              </a:r>
            </a:p>
          </p:txBody>
        </p:sp>
      </p:grpSp>
    </p:spTree>
    <p:extLst>
      <p:ext uri="{BB962C8B-B14F-4D97-AF65-F5344CB8AC3E}">
        <p14:creationId xmlns:p14="http://schemas.microsoft.com/office/powerpoint/2010/main" val="7590805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98229D7-A0C3-4F84-AA54-7874F824E7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631" imgH="631" progId="TCLayout.ActiveDocument.1">
                  <p:embed/>
                </p:oleObj>
              </mc:Choice>
              <mc:Fallback>
                <p:oleObj name="think-cell Slide" r:id="rId5" imgW="631" imgH="631" progId="TCLayout.ActiveDocument.1">
                  <p:embed/>
                  <p:pic>
                    <p:nvPicPr>
                      <p:cNvPr id="11" name="Object 10" hidden="1">
                        <a:extLst>
                          <a:ext uri="{FF2B5EF4-FFF2-40B4-BE49-F238E27FC236}">
                            <a16:creationId xmlns:a16="http://schemas.microsoft.com/office/drawing/2014/main" id="{598229D7-A0C3-4F84-AA54-7874F824E7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907B91-3B04-4138-B21A-24294518DB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ym typeface="+mn-lt"/>
            </a:endParaRPr>
          </a:p>
        </p:txBody>
      </p:sp>
      <p:sp>
        <p:nvSpPr>
          <p:cNvPr id="129" name="TextBox 128">
            <a:extLst>
              <a:ext uri="{FF2B5EF4-FFF2-40B4-BE49-F238E27FC236}">
                <a16:creationId xmlns:a16="http://schemas.microsoft.com/office/drawing/2014/main" id="{4DC65E4E-399A-43A7-85FE-541A4E4199CF}"/>
              </a:ext>
            </a:extLst>
          </p:cNvPr>
          <p:cNvSpPr txBox="1"/>
          <p:nvPr/>
        </p:nvSpPr>
        <p:spPr>
          <a:xfrm>
            <a:off x="175490" y="181525"/>
            <a:ext cx="11739417" cy="369332"/>
          </a:xfrm>
          <a:prstGeom prst="rect">
            <a:avLst/>
          </a:prstGeom>
          <a:noFill/>
        </p:spPr>
        <p:txBody>
          <a:bodyPr wrap="square" rtlCol="0">
            <a:spAutoFit/>
          </a:bodyPr>
          <a:lstStyle/>
          <a:p>
            <a:pPr algn="l"/>
            <a:r>
              <a:rPr lang="en-US" b="1" u="sng" dirty="0">
                <a:latin typeface="Arial" panose="020B0604020202020204" pitchFamily="34" charset="0"/>
                <a:cs typeface="Arial" panose="020B0604020202020204" pitchFamily="34" charset="0"/>
              </a:rPr>
              <a:t>What To Buy and From Where? (Part 1 of 3)</a:t>
            </a:r>
          </a:p>
        </p:txBody>
      </p:sp>
      <p:sp>
        <p:nvSpPr>
          <p:cNvPr id="16" name="Rectangle 15">
            <a:extLst>
              <a:ext uri="{FF2B5EF4-FFF2-40B4-BE49-F238E27FC236}">
                <a16:creationId xmlns:a16="http://schemas.microsoft.com/office/drawing/2014/main" id="{C5B602EA-7020-48E0-8534-5632D7268036}"/>
              </a:ext>
            </a:extLst>
          </p:cNvPr>
          <p:cNvSpPr/>
          <p:nvPr/>
        </p:nvSpPr>
        <p:spPr>
          <a:xfrm>
            <a:off x="10962942" y="149879"/>
            <a:ext cx="1002766" cy="266378"/>
          </a:xfrm>
          <a:prstGeom prst="rect">
            <a:avLst/>
          </a:pr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4 of 9 </a:t>
            </a:r>
          </a:p>
        </p:txBody>
      </p:sp>
      <p:sp>
        <p:nvSpPr>
          <p:cNvPr id="8" name="TextBox 7">
            <a:extLst>
              <a:ext uri="{FF2B5EF4-FFF2-40B4-BE49-F238E27FC236}">
                <a16:creationId xmlns:a16="http://schemas.microsoft.com/office/drawing/2014/main" id="{78AFED32-7E4A-471A-A82D-FAF3C2CE9368}"/>
              </a:ext>
            </a:extLst>
          </p:cNvPr>
          <p:cNvSpPr txBox="1"/>
          <p:nvPr/>
        </p:nvSpPr>
        <p:spPr>
          <a:xfrm>
            <a:off x="226291" y="708183"/>
            <a:ext cx="11739417" cy="307777"/>
          </a:xfrm>
          <a:prstGeom prst="rect">
            <a:avLst/>
          </a:prstGeom>
          <a:noFill/>
        </p:spPr>
        <p:txBody>
          <a:bodyPr wrap="square" rtlCol="0">
            <a:spAutoFit/>
          </a:bodyPr>
          <a:lstStyle/>
          <a:p>
            <a:pPr marL="285750" indent="-285750" algn="l">
              <a:spcBef>
                <a:spcPts val="400"/>
              </a:spcBef>
              <a:spcAft>
                <a:spcPts val="400"/>
              </a:spcAft>
              <a:buFont typeface="Wingdings" panose="05000000000000000000" pitchFamily="2" charset="2"/>
              <a:buChar char="§"/>
            </a:pPr>
            <a:r>
              <a:rPr lang="en-US" sz="1400" b="1" dirty="0">
                <a:latin typeface="Arial" panose="020B0604020202020204" pitchFamily="34" charset="0"/>
                <a:cs typeface="Arial" panose="020B0604020202020204" pitchFamily="34" charset="0"/>
              </a:rPr>
              <a:t>Fans</a:t>
            </a:r>
          </a:p>
        </p:txBody>
      </p:sp>
      <p:graphicFrame>
        <p:nvGraphicFramePr>
          <p:cNvPr id="23" name="Table 22">
            <a:extLst>
              <a:ext uri="{FF2B5EF4-FFF2-40B4-BE49-F238E27FC236}">
                <a16:creationId xmlns:a16="http://schemas.microsoft.com/office/drawing/2014/main" id="{CED1E8CD-02EF-48D6-9584-5E28C1D88983}"/>
              </a:ext>
            </a:extLst>
          </p:cNvPr>
          <p:cNvGraphicFramePr>
            <a:graphicFrameLocks noGrp="1"/>
          </p:cNvGraphicFramePr>
          <p:nvPr>
            <p:extLst>
              <p:ext uri="{D42A27DB-BD31-4B8C-83A1-F6EECF244321}">
                <p14:modId xmlns:p14="http://schemas.microsoft.com/office/powerpoint/2010/main" val="1489936966"/>
              </p:ext>
            </p:extLst>
          </p:nvPr>
        </p:nvGraphicFramePr>
        <p:xfrm>
          <a:off x="595061" y="2442224"/>
          <a:ext cx="7521901" cy="3785836"/>
        </p:xfrm>
        <a:graphic>
          <a:graphicData uri="http://schemas.openxmlformats.org/drawingml/2006/table">
            <a:tbl>
              <a:tblPr firstRow="1" firstCol="1" bandRow="1">
                <a:tableStyleId>{5C22544A-7EE6-4342-B048-85BDC9FD1C3A}</a:tableStyleId>
              </a:tblPr>
              <a:tblGrid>
                <a:gridCol w="1325880">
                  <a:extLst>
                    <a:ext uri="{9D8B030D-6E8A-4147-A177-3AD203B41FA5}">
                      <a16:colId xmlns:a16="http://schemas.microsoft.com/office/drawing/2014/main" val="1318681184"/>
                    </a:ext>
                  </a:extLst>
                </a:gridCol>
                <a:gridCol w="969264">
                  <a:extLst>
                    <a:ext uri="{9D8B030D-6E8A-4147-A177-3AD203B41FA5}">
                      <a16:colId xmlns:a16="http://schemas.microsoft.com/office/drawing/2014/main" val="4235939734"/>
                    </a:ext>
                  </a:extLst>
                </a:gridCol>
                <a:gridCol w="2604325">
                  <a:extLst>
                    <a:ext uri="{9D8B030D-6E8A-4147-A177-3AD203B41FA5}">
                      <a16:colId xmlns:a16="http://schemas.microsoft.com/office/drawing/2014/main" val="2253768445"/>
                    </a:ext>
                  </a:extLst>
                </a:gridCol>
                <a:gridCol w="1311216">
                  <a:extLst>
                    <a:ext uri="{9D8B030D-6E8A-4147-A177-3AD203B41FA5}">
                      <a16:colId xmlns:a16="http://schemas.microsoft.com/office/drawing/2014/main" val="346862235"/>
                    </a:ext>
                  </a:extLst>
                </a:gridCol>
                <a:gridCol w="1311216">
                  <a:extLst>
                    <a:ext uri="{9D8B030D-6E8A-4147-A177-3AD203B41FA5}">
                      <a16:colId xmlns:a16="http://schemas.microsoft.com/office/drawing/2014/main" val="3237137502"/>
                    </a:ext>
                  </a:extLst>
                </a:gridCol>
              </a:tblGrid>
              <a:tr h="358500">
                <a:tc>
                  <a:txBody>
                    <a:bodyPr/>
                    <a:lstStyle/>
                    <a:p>
                      <a:endParaRPr lang="en-US" dirty="0"/>
                    </a:p>
                  </a:txBody>
                  <a:tcPr>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175" marR="0" algn="ctr">
                        <a:lnSpc>
                          <a:spcPct val="107000"/>
                        </a:lnSpc>
                        <a:spcBef>
                          <a:spcPts val="0"/>
                        </a:spcBef>
                        <a:spcAft>
                          <a:spcPts val="0"/>
                        </a:spcAft>
                      </a:pPr>
                      <a:r>
                        <a:rPr lang="en-US" sz="1000" dirty="0">
                          <a:solidFill>
                            <a:schemeClr val="tx1"/>
                          </a:solidFill>
                          <a:effectLst/>
                        </a:rPr>
                        <a:t>What To Buy </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rom</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algn="ctr">
                        <a:lnSpc>
                          <a:spcPct val="107000"/>
                        </a:lnSpc>
                        <a:spcBef>
                          <a:spcPts val="0"/>
                        </a:spcBef>
                        <a:spcAft>
                          <a:spcPts val="0"/>
                        </a:spcAft>
                      </a:pPr>
                      <a:r>
                        <a:rPr lang="en-US" sz="1000" dirty="0">
                          <a:solidFill>
                            <a:schemeClr val="tx1"/>
                          </a:solidFill>
                          <a:effectLst/>
                        </a:rPr>
                        <a:t>Cost</a:t>
                      </a:r>
                      <a:endPar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080833958"/>
                  </a:ext>
                </a:extLst>
              </a:tr>
              <a:tr h="302176">
                <a:tc rowSpan="11">
                  <a:txBody>
                    <a:bodyPr/>
                    <a:lstStyle/>
                    <a:p>
                      <a:pPr marL="0" marR="0" algn="ctr">
                        <a:lnSpc>
                          <a:spcPct val="107000"/>
                        </a:lnSpc>
                        <a:spcBef>
                          <a:spcPts val="0"/>
                        </a:spcBef>
                        <a:spcAft>
                          <a:spcPts val="0"/>
                        </a:spcAft>
                      </a:pPr>
                      <a:r>
                        <a:rPr lang="en-US" sz="1000" b="0" dirty="0">
                          <a:solidFill>
                            <a:schemeClr val="tx1"/>
                          </a:solidFill>
                          <a:effectLst/>
                        </a:rPr>
                        <a:t>Necessary Products</a:t>
                      </a:r>
                      <a:endParaRPr lang="en-US"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7362" marR="87362" marT="43681" marB="43681" anchor="ctr">
                    <a:lnL w="952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rowSpan="11">
                  <a:txBody>
                    <a:bodyPr/>
                    <a:lstStyle/>
                    <a:p>
                      <a:pPr marL="0" marR="0" algn="ctr">
                        <a:lnSpc>
                          <a:spcPct val="107000"/>
                        </a:lnSpc>
                        <a:spcBef>
                          <a:spcPts val="0"/>
                        </a:spcBef>
                        <a:spcAft>
                          <a:spcPts val="0"/>
                        </a:spcAft>
                      </a:pPr>
                      <a:r>
                        <a:rPr lang="en-US" sz="1000" dirty="0">
                          <a:solidFill>
                            <a:schemeClr val="tx1"/>
                          </a:solidFill>
                          <a:effectLst/>
                        </a:rPr>
                        <a:t>Fan</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635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asko</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20-in 3-Speed Indoor Box Fa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e’s</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6.96</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0979427"/>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lmes 20-in 3-Speed Indoor Box Fa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e’s</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6.96</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7372869"/>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tilitech</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20-in 3-Speed Box Fa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e’s</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8.98</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7155910"/>
                  </a:ext>
                </a:extLst>
              </a:tr>
              <a:tr h="302176">
                <a:tc vMerge="1">
                  <a:txBody>
                    <a:bodyPr/>
                    <a:lstStyle/>
                    <a:p>
                      <a:pPr marL="0" marR="0" algn="ctr">
                        <a:lnSpc>
                          <a:spcPct val="107000"/>
                        </a:lnSpc>
                        <a:spcBef>
                          <a:spcPts val="0"/>
                        </a:spcBef>
                        <a:spcAft>
                          <a:spcPts val="0"/>
                        </a:spcAft>
                      </a:pPr>
                      <a:endParaRPr lang="en-US"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7362" marR="87362" marT="43681" marB="43681" anchor="ctr">
                    <a:lnL w="952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vMerge="1">
                  <a:txBody>
                    <a:bodyPr/>
                    <a:lstStyle/>
                    <a:p>
                      <a:pPr marL="0" marR="0" algn="ctr">
                        <a:lnSpc>
                          <a:spcPct val="107000"/>
                        </a:lnSpc>
                        <a:spcBef>
                          <a:spcPts val="0"/>
                        </a:spcBef>
                        <a:spcAft>
                          <a:spcPts val="0"/>
                        </a:spcAft>
                      </a:pP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635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asko</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20 in Box Fa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me Depo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8.96</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76875355"/>
                  </a:ext>
                </a:extLst>
              </a:tr>
              <a:tr h="31119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asko</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Slim 20” Box Fan with Smart Save</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almar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9.98</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3203588"/>
                  </a:ext>
                </a:extLst>
              </a:tr>
              <a:tr h="31119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lmes - 20” 3-Speed Box Fan </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rge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9.99</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9690449"/>
                  </a:ext>
                </a:extLst>
              </a:tr>
              <a:tr h="311196">
                <a:tc vMerge="1">
                  <a:txBody>
                    <a:bodyPr/>
                    <a:lstStyle/>
                    <a:p>
                      <a:endParaRPr lang="en-US"/>
                    </a:p>
                  </a:txBody>
                  <a:tcPr>
                    <a:lnT w="9525" cap="flat" cmpd="sng" algn="ctr">
                      <a:solidFill>
                        <a:schemeClr val="tx1"/>
                      </a:solidFill>
                      <a:prstDash val="solid"/>
                      <a:round/>
                      <a:headEnd type="none" w="med" len="med"/>
                      <a:tailEnd type="none" w="med" len="med"/>
                    </a:lnT>
                  </a:tcPr>
                </a:tc>
                <a:tc vMerge="1">
                  <a:txBody>
                    <a:bodyPr/>
                    <a:lstStyle/>
                    <a:p>
                      <a:endParaRPr lang="en-US"/>
                    </a:p>
                  </a:txBody>
                  <a:tcPr>
                    <a:lnT w="9525" cap="flat" cmpd="sng" algn="ctr">
                      <a:solidFill>
                        <a:schemeClr val="tx1"/>
                      </a:solidFill>
                      <a:prstDash val="solid"/>
                      <a:round/>
                      <a:headEnd type="none" w="med" len="med"/>
                      <a:tailEnd type="none" w="med" len="med"/>
                    </a:lnT>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tilitech</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20-in 3-Speed Box Fa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e’s</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0.98</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7640798"/>
                  </a:ext>
                </a:extLst>
              </a:tr>
              <a:tr h="311196">
                <a:tc vMerge="1">
                  <a:txBody>
                    <a:bodyPr/>
                    <a:lstStyle/>
                    <a:p>
                      <a:endParaRPr lang="en-US"/>
                    </a:p>
                  </a:txBody>
                  <a:tcPr>
                    <a:lnT w="9525" cap="flat" cmpd="sng" algn="ctr">
                      <a:solidFill>
                        <a:schemeClr val="tx1"/>
                      </a:solidFill>
                      <a:prstDash val="solid"/>
                      <a:round/>
                      <a:headEnd type="none" w="med" len="med"/>
                      <a:tailEnd type="none" w="med" len="med"/>
                    </a:lnT>
                  </a:tcPr>
                </a:tc>
                <a:tc vMerge="1">
                  <a:txBody>
                    <a:bodyPr/>
                    <a:lstStyle/>
                    <a:p>
                      <a:pPr marL="0" marR="0" algn="ctr">
                        <a:lnSpc>
                          <a:spcPct val="107000"/>
                        </a:lnSpc>
                        <a:spcBef>
                          <a:spcPts val="0"/>
                        </a:spcBef>
                        <a:spcAft>
                          <a:spcPts val="0"/>
                        </a:spcAft>
                      </a:pP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asko</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20 in. 3-Speed Box Fa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me Depo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3.98</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3910978"/>
                  </a:ext>
                </a:extLst>
              </a:tr>
              <a:tr h="31119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ford</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Zone 20” Box Fa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almar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4.50</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8101493"/>
                  </a:ext>
                </a:extLst>
              </a:tr>
              <a:tr h="31119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asko</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20 in. Power Plus Box Fa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me Depo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6.96</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38278944"/>
                  </a:ext>
                </a:extLst>
              </a:tr>
              <a:tr h="337364">
                <a:tc vMerge="1">
                  <a:txBody>
                    <a:bodyPr/>
                    <a:lstStyle/>
                    <a:p>
                      <a:pPr marL="0" marR="0" algn="ctr">
                        <a:lnSpc>
                          <a:spcPct val="107000"/>
                        </a:lnSpc>
                        <a:spcBef>
                          <a:spcPts val="0"/>
                        </a:spcBef>
                        <a:spcAft>
                          <a:spcPts val="0"/>
                        </a:spcAft>
                      </a:pPr>
                      <a:endParaRPr lang="en-US"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7362" marR="87362" marT="43681" marB="43681" anchor="ctr">
                    <a:lnL w="952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vMerge="1">
                  <a:txBody>
                    <a:bodyPr/>
                    <a:lstStyle/>
                    <a:p>
                      <a:pPr marL="0" marR="0" algn="ctr">
                        <a:lnSpc>
                          <a:spcPct val="107000"/>
                        </a:lnSpc>
                        <a:spcBef>
                          <a:spcPts val="0"/>
                        </a:spcBef>
                        <a:spcAft>
                          <a:spcPts val="0"/>
                        </a:spcAft>
                      </a:pPr>
                      <a:endPar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635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asko</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20 in. 3-Speed Weather Shield Performance Box Fa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me Depo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78105"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8.73</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03696598"/>
                  </a:ext>
                </a:extLst>
              </a:tr>
            </a:tbl>
          </a:graphicData>
        </a:graphic>
      </p:graphicFrame>
      <p:sp>
        <p:nvSpPr>
          <p:cNvPr id="28" name="TextBox 27">
            <a:extLst>
              <a:ext uri="{FF2B5EF4-FFF2-40B4-BE49-F238E27FC236}">
                <a16:creationId xmlns:a16="http://schemas.microsoft.com/office/drawing/2014/main" id="{FBBF1E7F-70C4-4C8C-BFDD-787A2C40EF8A}"/>
              </a:ext>
            </a:extLst>
          </p:cNvPr>
          <p:cNvSpPr txBox="1"/>
          <p:nvPr/>
        </p:nvSpPr>
        <p:spPr>
          <a:xfrm>
            <a:off x="226291" y="6279118"/>
            <a:ext cx="11739417" cy="340519"/>
          </a:xfrm>
          <a:prstGeom prst="roundRect">
            <a:avLst/>
          </a:prstGeom>
          <a:noFill/>
          <a:ln>
            <a:solidFill>
              <a:srgbClr val="EAEAEA"/>
            </a:solidFill>
          </a:ln>
        </p:spPr>
        <p:txBody>
          <a:bodyPr wrap="square" rtlCol="0" anchor="ctr">
            <a:spAutoFit/>
          </a:bodyPr>
          <a:lstStyle/>
          <a:p>
            <a:r>
              <a:rPr lang="en-US" sz="700" i="1" dirty="0"/>
              <a:t>Sources:</a:t>
            </a:r>
          </a:p>
          <a:p>
            <a:pPr marL="228600" indent="-228600">
              <a:buAutoNum type="arabicParenR"/>
            </a:pPr>
            <a:r>
              <a:rPr lang="en-US" sz="700" i="1" dirty="0"/>
              <a:t>Fan by Taylor Baldwin: www.taylorbaldwinstudio.com</a:t>
            </a:r>
          </a:p>
        </p:txBody>
      </p:sp>
      <p:grpSp>
        <p:nvGrpSpPr>
          <p:cNvPr id="3" name="Group 2">
            <a:extLst>
              <a:ext uri="{FF2B5EF4-FFF2-40B4-BE49-F238E27FC236}">
                <a16:creationId xmlns:a16="http://schemas.microsoft.com/office/drawing/2014/main" id="{BF6A7478-CE7E-4BFB-AADF-5EFBDE98FFD5}"/>
              </a:ext>
            </a:extLst>
          </p:cNvPr>
          <p:cNvGrpSpPr/>
          <p:nvPr/>
        </p:nvGrpSpPr>
        <p:grpSpPr>
          <a:xfrm>
            <a:off x="8923454" y="2162119"/>
            <a:ext cx="2767690" cy="2533763"/>
            <a:chOff x="9059551" y="1216365"/>
            <a:chExt cx="2767690" cy="2533763"/>
          </a:xfrm>
        </p:grpSpPr>
        <p:pic>
          <p:nvPicPr>
            <p:cNvPr id="12" name="Picture 11" descr="A picture containing text, drawing&#10;&#10;Description automatically generated">
              <a:extLst>
                <a:ext uri="{FF2B5EF4-FFF2-40B4-BE49-F238E27FC236}">
                  <a16:creationId xmlns:a16="http://schemas.microsoft.com/office/drawing/2014/main" id="{D21C4B17-57E7-47CB-8716-2F33645C411A}"/>
                </a:ext>
              </a:extLst>
            </p:cNvPr>
            <p:cNvPicPr>
              <a:picLocks noChangeAspect="1"/>
            </p:cNvPicPr>
            <p:nvPr/>
          </p:nvPicPr>
          <p:blipFill rotWithShape="1">
            <a:blip r:embed="rId7">
              <a:extLst>
                <a:ext uri="{28A0092B-C50C-407E-A947-70E740481C1C}">
                  <a14:useLocalDpi xmlns:a14="http://schemas.microsoft.com/office/drawing/2010/main" val="0"/>
                </a:ext>
              </a:extLst>
            </a:blip>
            <a:srcRect l="21962" t="21508" r="2416" b="9261"/>
            <a:stretch/>
          </p:blipFill>
          <p:spPr>
            <a:xfrm>
              <a:off x="9059551" y="1216365"/>
              <a:ext cx="2767690" cy="2533763"/>
            </a:xfrm>
            <a:prstGeom prst="rect">
              <a:avLst/>
            </a:prstGeom>
          </p:spPr>
        </p:pic>
        <p:sp>
          <p:nvSpPr>
            <p:cNvPr id="25" name="Rectangle 24">
              <a:extLst>
                <a:ext uri="{FF2B5EF4-FFF2-40B4-BE49-F238E27FC236}">
                  <a16:creationId xmlns:a16="http://schemas.microsoft.com/office/drawing/2014/main" id="{4424E9A1-3FAB-4F14-9636-FB330A8A518D}"/>
                </a:ext>
              </a:extLst>
            </p:cNvPr>
            <p:cNvSpPr/>
            <p:nvPr/>
          </p:nvSpPr>
          <p:spPr>
            <a:xfrm>
              <a:off x="10917510" y="1299305"/>
              <a:ext cx="391278" cy="2509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1)</a:t>
              </a:r>
            </a:p>
          </p:txBody>
        </p:sp>
      </p:grpSp>
      <p:graphicFrame>
        <p:nvGraphicFramePr>
          <p:cNvPr id="18" name="Table 7">
            <a:extLst>
              <a:ext uri="{FF2B5EF4-FFF2-40B4-BE49-F238E27FC236}">
                <a16:creationId xmlns:a16="http://schemas.microsoft.com/office/drawing/2014/main" id="{1D5E76CF-CA9B-4F49-B36D-1B6E3219B976}"/>
              </a:ext>
            </a:extLst>
          </p:cNvPr>
          <p:cNvGraphicFramePr>
            <a:graphicFrameLocks noGrp="1"/>
          </p:cNvGraphicFramePr>
          <p:nvPr>
            <p:extLst>
              <p:ext uri="{D42A27DB-BD31-4B8C-83A1-F6EECF244321}">
                <p14:modId xmlns:p14="http://schemas.microsoft.com/office/powerpoint/2010/main" val="1968342725"/>
              </p:ext>
            </p:extLst>
          </p:nvPr>
        </p:nvGraphicFramePr>
        <p:xfrm>
          <a:off x="595061" y="1283322"/>
          <a:ext cx="6230282" cy="731520"/>
        </p:xfrm>
        <a:graphic>
          <a:graphicData uri="http://schemas.openxmlformats.org/drawingml/2006/table">
            <a:tbl>
              <a:tblPr firstRow="1" bandRow="1">
                <a:tableStyleId>{5C22544A-7EE6-4342-B048-85BDC9FD1C3A}</a:tableStyleId>
              </a:tblPr>
              <a:tblGrid>
                <a:gridCol w="1817939">
                  <a:extLst>
                    <a:ext uri="{9D8B030D-6E8A-4147-A177-3AD203B41FA5}">
                      <a16:colId xmlns:a16="http://schemas.microsoft.com/office/drawing/2014/main" val="1468568871"/>
                    </a:ext>
                  </a:extLst>
                </a:gridCol>
                <a:gridCol w="4412343">
                  <a:extLst>
                    <a:ext uri="{9D8B030D-6E8A-4147-A177-3AD203B41FA5}">
                      <a16:colId xmlns:a16="http://schemas.microsoft.com/office/drawing/2014/main" val="3402873440"/>
                    </a:ext>
                  </a:extLst>
                </a:gridCol>
              </a:tblGrid>
              <a:tr h="686526">
                <a:tc>
                  <a:txBody>
                    <a:bodyPr/>
                    <a:lstStyle/>
                    <a:p>
                      <a:pPr algn="ctr"/>
                      <a:r>
                        <a:rPr lang="en-US" sz="1050" dirty="0"/>
                        <a:t>Comment</a:t>
                      </a:r>
                    </a:p>
                  </a:txBody>
                  <a:tcPr anchor="ctr">
                    <a:lnB w="38100" cmpd="sng">
                      <a:noFill/>
                    </a:lnB>
                    <a:solidFill>
                      <a:srgbClr val="66023C"/>
                    </a:solidFill>
                  </a:tcPr>
                </a:tc>
                <a:tc>
                  <a:txBody>
                    <a:bodyPr/>
                    <a:lstStyle/>
                    <a:p>
                      <a:pPr marL="171450" indent="-171450" algn="l">
                        <a:buFont typeface="Arial" panose="020B0604020202020204" pitchFamily="34" charset="0"/>
                        <a:buChar char="•"/>
                      </a:pPr>
                      <a:r>
                        <a:rPr lang="en-US" sz="1050" b="0" dirty="0">
                          <a:solidFill>
                            <a:schemeClr val="tx1"/>
                          </a:solidFill>
                        </a:rPr>
                        <a:t>Any generic fan will technically work, but you will ideally want to have the fan be the </a:t>
                      </a:r>
                      <a:r>
                        <a:rPr lang="en-US" sz="1050" b="1" dirty="0">
                          <a:solidFill>
                            <a:schemeClr val="tx1"/>
                          </a:solidFill>
                        </a:rPr>
                        <a:t>SAME</a:t>
                      </a:r>
                      <a:r>
                        <a:rPr lang="en-US" sz="1050" b="0" dirty="0">
                          <a:solidFill>
                            <a:schemeClr val="tx1"/>
                          </a:solidFill>
                        </a:rPr>
                        <a:t> size as the filter or have the fan </a:t>
                      </a:r>
                      <a:r>
                        <a:rPr lang="en-US" sz="1050" b="1" dirty="0">
                          <a:solidFill>
                            <a:schemeClr val="tx1"/>
                          </a:solidFill>
                        </a:rPr>
                        <a:t>SMALLER </a:t>
                      </a:r>
                      <a:r>
                        <a:rPr lang="en-US" sz="1050" b="0" dirty="0">
                          <a:solidFill>
                            <a:schemeClr val="tx1"/>
                          </a:solidFill>
                        </a:rPr>
                        <a:t>than the filter.</a:t>
                      </a:r>
                    </a:p>
                    <a:p>
                      <a:pPr marL="171450" indent="-171450" algn="l">
                        <a:buFont typeface="Arial" panose="020B0604020202020204" pitchFamily="34" charset="0"/>
                        <a:buChar char="•"/>
                      </a:pPr>
                      <a:r>
                        <a:rPr lang="en-US" sz="1050" b="0" dirty="0">
                          <a:solidFill>
                            <a:schemeClr val="tx1"/>
                          </a:solidFill>
                        </a:rPr>
                        <a:t>20 x 20. fans and filters are widely available throughout the U.S. so I will recommend this size until the quantity noticeable decreases.</a:t>
                      </a:r>
                    </a:p>
                  </a:txBody>
                  <a:tcPr anchor="ctr">
                    <a:lnB w="38100" cmpd="sng">
                      <a:noFill/>
                    </a:lnB>
                    <a:noFill/>
                  </a:tcPr>
                </a:tc>
                <a:extLst>
                  <a:ext uri="{0D108BD9-81ED-4DB2-BD59-A6C34878D82A}">
                    <a16:rowId xmlns:a16="http://schemas.microsoft.com/office/drawing/2014/main" val="3703857929"/>
                  </a:ext>
                </a:extLst>
              </a:tr>
            </a:tbl>
          </a:graphicData>
        </a:graphic>
      </p:graphicFrame>
    </p:spTree>
    <p:extLst>
      <p:ext uri="{BB962C8B-B14F-4D97-AF65-F5344CB8AC3E}">
        <p14:creationId xmlns:p14="http://schemas.microsoft.com/office/powerpoint/2010/main" val="2658089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98229D7-A0C3-4F84-AA54-7874F824E7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631" imgH="631" progId="TCLayout.ActiveDocument.1">
                  <p:embed/>
                </p:oleObj>
              </mc:Choice>
              <mc:Fallback>
                <p:oleObj name="think-cell Slide" r:id="rId5" imgW="631" imgH="631" progId="TCLayout.ActiveDocument.1">
                  <p:embed/>
                  <p:pic>
                    <p:nvPicPr>
                      <p:cNvPr id="11" name="Object 10" hidden="1">
                        <a:extLst>
                          <a:ext uri="{FF2B5EF4-FFF2-40B4-BE49-F238E27FC236}">
                            <a16:creationId xmlns:a16="http://schemas.microsoft.com/office/drawing/2014/main" id="{598229D7-A0C3-4F84-AA54-7874F824E7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907B91-3B04-4138-B21A-24294518DB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ym typeface="+mn-lt"/>
            </a:endParaRPr>
          </a:p>
        </p:txBody>
      </p:sp>
      <p:sp>
        <p:nvSpPr>
          <p:cNvPr id="129" name="TextBox 128">
            <a:extLst>
              <a:ext uri="{FF2B5EF4-FFF2-40B4-BE49-F238E27FC236}">
                <a16:creationId xmlns:a16="http://schemas.microsoft.com/office/drawing/2014/main" id="{4DC65E4E-399A-43A7-85FE-541A4E4199CF}"/>
              </a:ext>
            </a:extLst>
          </p:cNvPr>
          <p:cNvSpPr txBox="1"/>
          <p:nvPr/>
        </p:nvSpPr>
        <p:spPr>
          <a:xfrm>
            <a:off x="175490" y="181525"/>
            <a:ext cx="11739417" cy="369332"/>
          </a:xfrm>
          <a:prstGeom prst="rect">
            <a:avLst/>
          </a:prstGeom>
          <a:noFill/>
        </p:spPr>
        <p:txBody>
          <a:bodyPr wrap="square" rtlCol="0">
            <a:spAutoFit/>
          </a:bodyPr>
          <a:lstStyle/>
          <a:p>
            <a:pPr algn="l"/>
            <a:r>
              <a:rPr lang="en-US" b="1" u="sng" dirty="0">
                <a:latin typeface="Arial" panose="020B0604020202020204" pitchFamily="34" charset="0"/>
                <a:cs typeface="Arial" panose="020B0604020202020204" pitchFamily="34" charset="0"/>
              </a:rPr>
              <a:t>What To Buy and From Where? (Part 2 of 3)</a:t>
            </a:r>
          </a:p>
        </p:txBody>
      </p:sp>
      <p:sp>
        <p:nvSpPr>
          <p:cNvPr id="16" name="Rectangle 15">
            <a:extLst>
              <a:ext uri="{FF2B5EF4-FFF2-40B4-BE49-F238E27FC236}">
                <a16:creationId xmlns:a16="http://schemas.microsoft.com/office/drawing/2014/main" id="{C5B602EA-7020-48E0-8534-5632D7268036}"/>
              </a:ext>
            </a:extLst>
          </p:cNvPr>
          <p:cNvSpPr/>
          <p:nvPr/>
        </p:nvSpPr>
        <p:spPr>
          <a:xfrm>
            <a:off x="10962942" y="149879"/>
            <a:ext cx="1002766" cy="266378"/>
          </a:xfrm>
          <a:prstGeom prst="rect">
            <a:avLst/>
          </a:pr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5 of 9 </a:t>
            </a:r>
          </a:p>
        </p:txBody>
      </p:sp>
      <p:sp>
        <p:nvSpPr>
          <p:cNvPr id="8" name="TextBox 7">
            <a:extLst>
              <a:ext uri="{FF2B5EF4-FFF2-40B4-BE49-F238E27FC236}">
                <a16:creationId xmlns:a16="http://schemas.microsoft.com/office/drawing/2014/main" id="{78AFED32-7E4A-471A-A82D-FAF3C2CE9368}"/>
              </a:ext>
            </a:extLst>
          </p:cNvPr>
          <p:cNvSpPr txBox="1"/>
          <p:nvPr/>
        </p:nvSpPr>
        <p:spPr>
          <a:xfrm>
            <a:off x="226291" y="708183"/>
            <a:ext cx="11739417" cy="307777"/>
          </a:xfrm>
          <a:prstGeom prst="rect">
            <a:avLst/>
          </a:prstGeom>
          <a:noFill/>
        </p:spPr>
        <p:txBody>
          <a:bodyPr wrap="square" rtlCol="0">
            <a:spAutoFit/>
          </a:bodyPr>
          <a:lstStyle/>
          <a:p>
            <a:pPr marL="285750" indent="-285750" algn="l">
              <a:spcBef>
                <a:spcPts val="400"/>
              </a:spcBef>
              <a:spcAft>
                <a:spcPts val="400"/>
              </a:spcAft>
              <a:buFont typeface="Wingdings" panose="05000000000000000000" pitchFamily="2" charset="2"/>
              <a:buChar char="§"/>
            </a:pPr>
            <a:r>
              <a:rPr lang="en-US" sz="1400" b="1" dirty="0">
                <a:latin typeface="Arial" panose="020B0604020202020204" pitchFamily="34" charset="0"/>
                <a:cs typeface="Arial" panose="020B0604020202020204" pitchFamily="34" charset="0"/>
              </a:rPr>
              <a:t>Filters</a:t>
            </a:r>
          </a:p>
        </p:txBody>
      </p:sp>
      <p:sp>
        <p:nvSpPr>
          <p:cNvPr id="28" name="TextBox 27">
            <a:extLst>
              <a:ext uri="{FF2B5EF4-FFF2-40B4-BE49-F238E27FC236}">
                <a16:creationId xmlns:a16="http://schemas.microsoft.com/office/drawing/2014/main" id="{FBBF1E7F-70C4-4C8C-BFDD-787A2C40EF8A}"/>
              </a:ext>
            </a:extLst>
          </p:cNvPr>
          <p:cNvSpPr txBox="1"/>
          <p:nvPr/>
        </p:nvSpPr>
        <p:spPr>
          <a:xfrm>
            <a:off x="226291" y="6279118"/>
            <a:ext cx="11739417" cy="340519"/>
          </a:xfrm>
          <a:prstGeom prst="roundRect">
            <a:avLst/>
          </a:prstGeom>
          <a:noFill/>
          <a:ln>
            <a:solidFill>
              <a:srgbClr val="EAEAEA"/>
            </a:solidFill>
          </a:ln>
        </p:spPr>
        <p:txBody>
          <a:bodyPr wrap="square" rtlCol="0" anchor="ctr">
            <a:spAutoFit/>
          </a:bodyPr>
          <a:lstStyle/>
          <a:p>
            <a:r>
              <a:rPr lang="en-US" sz="700" i="1" dirty="0"/>
              <a:t>Sources:</a:t>
            </a:r>
          </a:p>
          <a:p>
            <a:r>
              <a:rPr lang="en-US" sz="700" i="1" dirty="0"/>
              <a:t>2)         Air filter by Subaru</a:t>
            </a:r>
          </a:p>
        </p:txBody>
      </p:sp>
      <p:graphicFrame>
        <p:nvGraphicFramePr>
          <p:cNvPr id="20" name="Table 7">
            <a:extLst>
              <a:ext uri="{FF2B5EF4-FFF2-40B4-BE49-F238E27FC236}">
                <a16:creationId xmlns:a16="http://schemas.microsoft.com/office/drawing/2014/main" id="{5D72554A-C209-4F2A-A3A5-FED46891F45F}"/>
              </a:ext>
            </a:extLst>
          </p:cNvPr>
          <p:cNvGraphicFramePr>
            <a:graphicFrameLocks noGrp="1"/>
          </p:cNvGraphicFramePr>
          <p:nvPr>
            <p:extLst>
              <p:ext uri="{D42A27DB-BD31-4B8C-83A1-F6EECF244321}">
                <p14:modId xmlns:p14="http://schemas.microsoft.com/office/powerpoint/2010/main" val="2021160861"/>
              </p:ext>
            </p:extLst>
          </p:nvPr>
        </p:nvGraphicFramePr>
        <p:xfrm>
          <a:off x="595061" y="1283322"/>
          <a:ext cx="6230282" cy="1211580"/>
        </p:xfrm>
        <a:graphic>
          <a:graphicData uri="http://schemas.openxmlformats.org/drawingml/2006/table">
            <a:tbl>
              <a:tblPr firstRow="1" bandRow="1">
                <a:tableStyleId>{5C22544A-7EE6-4342-B048-85BDC9FD1C3A}</a:tableStyleId>
              </a:tblPr>
              <a:tblGrid>
                <a:gridCol w="1817939">
                  <a:extLst>
                    <a:ext uri="{9D8B030D-6E8A-4147-A177-3AD203B41FA5}">
                      <a16:colId xmlns:a16="http://schemas.microsoft.com/office/drawing/2014/main" val="1468568871"/>
                    </a:ext>
                  </a:extLst>
                </a:gridCol>
                <a:gridCol w="4412343">
                  <a:extLst>
                    <a:ext uri="{9D8B030D-6E8A-4147-A177-3AD203B41FA5}">
                      <a16:colId xmlns:a16="http://schemas.microsoft.com/office/drawing/2014/main" val="3402873440"/>
                    </a:ext>
                  </a:extLst>
                </a:gridCol>
              </a:tblGrid>
              <a:tr h="686526">
                <a:tc>
                  <a:txBody>
                    <a:bodyPr/>
                    <a:lstStyle/>
                    <a:p>
                      <a:pPr algn="ctr"/>
                      <a:r>
                        <a:rPr lang="en-US" sz="1050" dirty="0"/>
                        <a:t>Comment</a:t>
                      </a:r>
                    </a:p>
                  </a:txBody>
                  <a:tcPr anchor="ctr">
                    <a:lnB w="38100" cmpd="sng">
                      <a:noFill/>
                    </a:lnB>
                    <a:solidFill>
                      <a:srgbClr val="66023C"/>
                    </a:solidFill>
                  </a:tcPr>
                </a:tc>
                <a:tc>
                  <a:txBody>
                    <a:bodyPr/>
                    <a:lstStyle/>
                    <a:p>
                      <a:pPr marL="171450" indent="-171450" algn="l">
                        <a:buFont typeface="Arial" panose="020B0604020202020204" pitchFamily="34" charset="0"/>
                        <a:buChar char="•"/>
                      </a:pPr>
                      <a:r>
                        <a:rPr lang="en-US" sz="1050" b="0" dirty="0">
                          <a:solidFill>
                            <a:schemeClr val="tx1"/>
                          </a:solidFill>
                        </a:rPr>
                        <a:t>Ideally you want the filter to be the </a:t>
                      </a:r>
                      <a:r>
                        <a:rPr lang="en-US" sz="1050" b="1" dirty="0">
                          <a:solidFill>
                            <a:schemeClr val="tx1"/>
                          </a:solidFill>
                        </a:rPr>
                        <a:t>SAME</a:t>
                      </a:r>
                      <a:r>
                        <a:rPr lang="en-US" sz="1050" b="0" dirty="0">
                          <a:solidFill>
                            <a:schemeClr val="tx1"/>
                          </a:solidFill>
                        </a:rPr>
                        <a:t> size as the fan or </a:t>
                      </a:r>
                      <a:r>
                        <a:rPr lang="en-US" sz="1050" b="1" dirty="0">
                          <a:solidFill>
                            <a:schemeClr val="tx1"/>
                          </a:solidFill>
                        </a:rPr>
                        <a:t>BIGGER</a:t>
                      </a:r>
                      <a:r>
                        <a:rPr lang="en-US" sz="1050" b="0" dirty="0">
                          <a:solidFill>
                            <a:schemeClr val="tx1"/>
                          </a:solidFill>
                        </a:rPr>
                        <a:t> than the fan.</a:t>
                      </a:r>
                    </a:p>
                    <a:p>
                      <a:pPr marL="171450" indent="-171450" algn="l">
                        <a:buFont typeface="Arial" panose="020B0604020202020204" pitchFamily="34" charset="0"/>
                        <a:buChar char="•"/>
                      </a:pPr>
                      <a:r>
                        <a:rPr lang="en-US" sz="1050" b="0" dirty="0">
                          <a:solidFill>
                            <a:schemeClr val="tx1"/>
                          </a:solidFill>
                        </a:rPr>
                        <a:t>20 x 20. fans are currently widely available throughout the U.S. so I will recommend this size until the quantity noticeable decreases.</a:t>
                      </a:r>
                    </a:p>
                    <a:p>
                      <a:pPr marL="171450" indent="-171450" algn="l">
                        <a:buFont typeface="Arial" panose="020B0604020202020204" pitchFamily="34" charset="0"/>
                        <a:buChar char="•"/>
                      </a:pPr>
                      <a:r>
                        <a:rPr lang="en-US" sz="1050" b="0" dirty="0">
                          <a:solidFill>
                            <a:schemeClr val="tx1"/>
                          </a:solidFill>
                        </a:rPr>
                        <a:t>The filter needs to have a minimum level of “filtration”, which all of the ones listed below meet.</a:t>
                      </a:r>
                    </a:p>
                    <a:p>
                      <a:pPr marL="171450" indent="-171450" algn="l">
                        <a:buFont typeface="Arial" panose="020B0604020202020204" pitchFamily="34" charset="0"/>
                        <a:buChar char="•"/>
                      </a:pPr>
                      <a:r>
                        <a:rPr lang="en-US" sz="1050" b="0" dirty="0">
                          <a:solidFill>
                            <a:schemeClr val="tx1"/>
                          </a:solidFill>
                        </a:rPr>
                        <a:t>The filters </a:t>
                      </a:r>
                      <a:r>
                        <a:rPr lang="en-US" sz="1050" b="1" dirty="0">
                          <a:solidFill>
                            <a:schemeClr val="tx1"/>
                          </a:solidFill>
                        </a:rPr>
                        <a:t>NEED</a:t>
                      </a:r>
                      <a:r>
                        <a:rPr lang="en-US" sz="1050" b="0" dirty="0">
                          <a:solidFill>
                            <a:schemeClr val="tx1"/>
                          </a:solidFill>
                        </a:rPr>
                        <a:t> to be replaced every 90 days</a:t>
                      </a:r>
                    </a:p>
                  </a:txBody>
                  <a:tcPr anchor="ctr">
                    <a:lnB w="38100" cmpd="sng">
                      <a:noFill/>
                    </a:lnB>
                    <a:noFill/>
                  </a:tcPr>
                </a:tc>
                <a:extLst>
                  <a:ext uri="{0D108BD9-81ED-4DB2-BD59-A6C34878D82A}">
                    <a16:rowId xmlns:a16="http://schemas.microsoft.com/office/drawing/2014/main" val="3703857929"/>
                  </a:ext>
                </a:extLst>
              </a:tr>
            </a:tbl>
          </a:graphicData>
        </a:graphic>
      </p:graphicFrame>
      <p:graphicFrame>
        <p:nvGraphicFramePr>
          <p:cNvPr id="21" name="Table 20">
            <a:extLst>
              <a:ext uri="{FF2B5EF4-FFF2-40B4-BE49-F238E27FC236}">
                <a16:creationId xmlns:a16="http://schemas.microsoft.com/office/drawing/2014/main" id="{F95909AE-CD46-473B-8006-4117F08A4CD1}"/>
              </a:ext>
            </a:extLst>
          </p:cNvPr>
          <p:cNvGraphicFramePr>
            <a:graphicFrameLocks noGrp="1"/>
          </p:cNvGraphicFramePr>
          <p:nvPr>
            <p:extLst>
              <p:ext uri="{D42A27DB-BD31-4B8C-83A1-F6EECF244321}">
                <p14:modId xmlns:p14="http://schemas.microsoft.com/office/powerpoint/2010/main" val="1160978326"/>
              </p:ext>
            </p:extLst>
          </p:nvPr>
        </p:nvGraphicFramePr>
        <p:xfrm>
          <a:off x="595061" y="2586342"/>
          <a:ext cx="7521901" cy="2993268"/>
        </p:xfrm>
        <a:graphic>
          <a:graphicData uri="http://schemas.openxmlformats.org/drawingml/2006/table">
            <a:tbl>
              <a:tblPr firstRow="1" firstCol="1" bandRow="1">
                <a:tableStyleId>{5C22544A-7EE6-4342-B048-85BDC9FD1C3A}</a:tableStyleId>
              </a:tblPr>
              <a:tblGrid>
                <a:gridCol w="1325880">
                  <a:extLst>
                    <a:ext uri="{9D8B030D-6E8A-4147-A177-3AD203B41FA5}">
                      <a16:colId xmlns:a16="http://schemas.microsoft.com/office/drawing/2014/main" val="1318681184"/>
                    </a:ext>
                  </a:extLst>
                </a:gridCol>
                <a:gridCol w="969264">
                  <a:extLst>
                    <a:ext uri="{9D8B030D-6E8A-4147-A177-3AD203B41FA5}">
                      <a16:colId xmlns:a16="http://schemas.microsoft.com/office/drawing/2014/main" val="4235939734"/>
                    </a:ext>
                  </a:extLst>
                </a:gridCol>
                <a:gridCol w="2604325">
                  <a:extLst>
                    <a:ext uri="{9D8B030D-6E8A-4147-A177-3AD203B41FA5}">
                      <a16:colId xmlns:a16="http://schemas.microsoft.com/office/drawing/2014/main" val="2253768445"/>
                    </a:ext>
                  </a:extLst>
                </a:gridCol>
                <a:gridCol w="1311216">
                  <a:extLst>
                    <a:ext uri="{9D8B030D-6E8A-4147-A177-3AD203B41FA5}">
                      <a16:colId xmlns:a16="http://schemas.microsoft.com/office/drawing/2014/main" val="346862235"/>
                    </a:ext>
                  </a:extLst>
                </a:gridCol>
                <a:gridCol w="1311216">
                  <a:extLst>
                    <a:ext uri="{9D8B030D-6E8A-4147-A177-3AD203B41FA5}">
                      <a16:colId xmlns:a16="http://schemas.microsoft.com/office/drawing/2014/main" val="3237137502"/>
                    </a:ext>
                  </a:extLst>
                </a:gridCol>
              </a:tblGrid>
              <a:tr h="358500">
                <a:tc>
                  <a:txBody>
                    <a:bodyPr/>
                    <a:lstStyle/>
                    <a:p>
                      <a:endParaRPr lang="en-US" dirty="0"/>
                    </a:p>
                  </a:txBody>
                  <a:tcPr>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175" marR="0" algn="ctr">
                        <a:lnSpc>
                          <a:spcPct val="107000"/>
                        </a:lnSpc>
                        <a:spcBef>
                          <a:spcPts val="0"/>
                        </a:spcBef>
                        <a:spcAft>
                          <a:spcPts val="0"/>
                        </a:spcAft>
                      </a:pPr>
                      <a:r>
                        <a:rPr lang="en-US" sz="1000" dirty="0">
                          <a:solidFill>
                            <a:schemeClr val="tx1"/>
                          </a:solidFill>
                          <a:effectLst/>
                        </a:rPr>
                        <a:t>What To Buy </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rom</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algn="ctr">
                        <a:lnSpc>
                          <a:spcPct val="107000"/>
                        </a:lnSpc>
                        <a:spcBef>
                          <a:spcPts val="0"/>
                        </a:spcBef>
                        <a:spcAft>
                          <a:spcPts val="0"/>
                        </a:spcAft>
                      </a:pPr>
                      <a:r>
                        <a:rPr lang="en-US" sz="1000" dirty="0">
                          <a:solidFill>
                            <a:schemeClr val="tx1"/>
                          </a:solidFill>
                          <a:effectLst/>
                        </a:rPr>
                        <a:t>Cost</a:t>
                      </a:r>
                      <a:endPar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080833958"/>
                  </a:ext>
                </a:extLst>
              </a:tr>
              <a:tr h="302176">
                <a:tc row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effectLst/>
                        </a:rPr>
                        <a:t>Necessary Products</a:t>
                      </a:r>
                      <a:endParaRPr lang="en-US"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AFABAB"/>
                    </a:solidFill>
                  </a:tcPr>
                </a:tc>
                <a:tc row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ir Filter</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gn="ctr"/>
                      <a:endParaRPr lang="en-US" sz="10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neywell 20 in. x 20 in. Superior Allergen Pleated FPR 9 Air Filter</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me Depo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6.97</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7372869"/>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iltrete</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Ultra Allergen 20x20, Air Filter</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rge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6.99</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5099536"/>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neywell 20 in. x 20 in. Elite Allergen Pleated FPR 10 Air Filter</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me Depo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9.97</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7155910"/>
                  </a:ext>
                </a:extLst>
              </a:tr>
              <a:tr h="302176">
                <a:tc vMerge="1">
                  <a:txBody>
                    <a:bodyPr/>
                    <a:lstStyle/>
                    <a:p>
                      <a:pPr marL="0" marR="0" algn="ctr">
                        <a:lnSpc>
                          <a:spcPct val="107000"/>
                        </a:lnSpc>
                        <a:spcBef>
                          <a:spcPts val="0"/>
                        </a:spcBef>
                        <a:spcAft>
                          <a:spcPts val="0"/>
                        </a:spcAft>
                      </a:pPr>
                      <a:endParaRPr lang="en-US"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7362" marR="87362" marT="43681" marB="43681" anchor="ctr">
                    <a:lnL w="952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vMerge="1">
                  <a:txBody>
                    <a:bodyPr/>
                    <a:lstStyle/>
                    <a:p>
                      <a:pPr marL="0" marR="0" algn="ctr">
                        <a:lnSpc>
                          <a:spcPct val="107000"/>
                        </a:lnSpc>
                        <a:spcBef>
                          <a:spcPts val="0"/>
                        </a:spcBef>
                        <a:spcAft>
                          <a:spcPts val="0"/>
                        </a:spcAft>
                      </a:pP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6350"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iltrete</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1900 MPR Maximum Allergen (Common: 20-in x 20-in) </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e’s</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9.97</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9353749"/>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iltrete</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Ultimate Allergen 20x20, Air Filter</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e’s</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9.99</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94842963"/>
                  </a:ext>
                </a:extLst>
              </a:tr>
              <a:tr h="302176">
                <a:tc vMerge="1">
                  <a:txBody>
                    <a:bodyPr/>
                    <a:lstStyle/>
                    <a:p>
                      <a:pPr marL="0" marR="0" algn="ctr">
                        <a:lnSpc>
                          <a:spcPct val="107000"/>
                        </a:lnSpc>
                        <a:spcBef>
                          <a:spcPts val="0"/>
                        </a:spcBef>
                        <a:spcAft>
                          <a:spcPts val="0"/>
                        </a:spcAft>
                      </a:pPr>
                      <a:endParaRPr lang="en-US"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7362" marR="87362" marT="43681" marB="43681" anchor="ctr">
                    <a:lnL w="952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vMerge="1">
                  <a:txBody>
                    <a:bodyPr/>
                    <a:lstStyle/>
                    <a:p>
                      <a:pPr marL="0" marR="0" algn="ctr">
                        <a:lnSpc>
                          <a:spcPct val="107000"/>
                        </a:lnSpc>
                        <a:spcBef>
                          <a:spcPts val="0"/>
                        </a:spcBef>
                        <a:spcAft>
                          <a:spcPts val="0"/>
                        </a:spcAft>
                      </a:pP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6350"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iltrete</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1500 Smart Allergen, </a:t>
                      </a: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Vacteria</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nd Virus (Common: 20-in x 20-i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e’s</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1.98</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1515385"/>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iltrete</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2500 (Common: 20-in x 20-in)</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e’s</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4.97</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7454793"/>
                  </a:ext>
                </a:extLst>
              </a:tr>
              <a:tr h="302176">
                <a:tc vMerge="1">
                  <a:txBody>
                    <a:bodyPr/>
                    <a:lstStyle/>
                    <a:p>
                      <a:pPr marL="0" marR="0" algn="ctr">
                        <a:lnSpc>
                          <a:spcPct val="107000"/>
                        </a:lnSpc>
                        <a:spcBef>
                          <a:spcPts val="0"/>
                        </a:spcBef>
                        <a:spcAft>
                          <a:spcPts val="0"/>
                        </a:spcAft>
                      </a:pPr>
                      <a:endParaRPr lang="en-US"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7362" marR="87362" marT="43681" marB="43681" anchor="ctr">
                    <a:lnL w="952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vMerge="1">
                  <a:txBody>
                    <a:bodyPr/>
                    <a:lstStyle/>
                    <a:p>
                      <a:pPr marL="0" marR="0" algn="ctr">
                        <a:lnSpc>
                          <a:spcPct val="107000"/>
                        </a:lnSpc>
                        <a:spcBef>
                          <a:spcPts val="0"/>
                        </a:spcBef>
                        <a:spcAft>
                          <a:spcPts val="0"/>
                        </a:spcAft>
                      </a:pP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6350"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ordic Pure 20 in. x 20 in. Pleated MERV 12 – FPR 9 Air Filter (3-Pack)</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me Depo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3.84</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25355850"/>
                  </a:ext>
                </a:extLst>
              </a:tr>
            </a:tbl>
          </a:graphicData>
        </a:graphic>
      </p:graphicFrame>
      <p:grpSp>
        <p:nvGrpSpPr>
          <p:cNvPr id="22" name="Group 21">
            <a:extLst>
              <a:ext uri="{FF2B5EF4-FFF2-40B4-BE49-F238E27FC236}">
                <a16:creationId xmlns:a16="http://schemas.microsoft.com/office/drawing/2014/main" id="{0EB5FF5D-8AA8-41C4-83B8-5E1CFBEE0D14}"/>
              </a:ext>
            </a:extLst>
          </p:cNvPr>
          <p:cNvGrpSpPr/>
          <p:nvPr/>
        </p:nvGrpSpPr>
        <p:grpSpPr>
          <a:xfrm>
            <a:off x="9139601" y="2360378"/>
            <a:ext cx="1760752" cy="2137245"/>
            <a:chOff x="6868432" y="2907058"/>
            <a:chExt cx="1760752" cy="2137245"/>
          </a:xfrm>
        </p:grpSpPr>
        <p:pic>
          <p:nvPicPr>
            <p:cNvPr id="24" name="Picture 23" descr="A picture containing drawing, game&#10;&#10;Description automatically generated">
              <a:extLst>
                <a:ext uri="{FF2B5EF4-FFF2-40B4-BE49-F238E27FC236}">
                  <a16:creationId xmlns:a16="http://schemas.microsoft.com/office/drawing/2014/main" id="{E368D3C9-FAA8-4213-A3BB-8DD1E264538D}"/>
                </a:ext>
              </a:extLst>
            </p:cNvPr>
            <p:cNvPicPr>
              <a:picLocks noChangeAspect="1"/>
            </p:cNvPicPr>
            <p:nvPr/>
          </p:nvPicPr>
          <p:blipFill rotWithShape="1">
            <a:blip r:embed="rId7">
              <a:extLst>
                <a:ext uri="{28A0092B-C50C-407E-A947-70E740481C1C}">
                  <a14:useLocalDpi xmlns:a14="http://schemas.microsoft.com/office/drawing/2010/main" val="0"/>
                </a:ext>
              </a:extLst>
            </a:blip>
            <a:srcRect l="19378" r="18998"/>
            <a:stretch/>
          </p:blipFill>
          <p:spPr>
            <a:xfrm>
              <a:off x="6868432" y="2907058"/>
              <a:ext cx="1760752" cy="2137245"/>
            </a:xfrm>
            <a:prstGeom prst="rect">
              <a:avLst/>
            </a:prstGeom>
          </p:spPr>
        </p:pic>
        <p:sp>
          <p:nvSpPr>
            <p:cNvPr id="26" name="Rectangle 25">
              <a:extLst>
                <a:ext uri="{FF2B5EF4-FFF2-40B4-BE49-F238E27FC236}">
                  <a16:creationId xmlns:a16="http://schemas.microsoft.com/office/drawing/2014/main" id="{6709C182-390D-4144-8CBD-95E7761A9708}"/>
                </a:ext>
              </a:extLst>
            </p:cNvPr>
            <p:cNvSpPr/>
            <p:nvPr/>
          </p:nvSpPr>
          <p:spPr>
            <a:xfrm>
              <a:off x="8118313" y="3184217"/>
              <a:ext cx="391278" cy="2509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2)</a:t>
              </a:r>
            </a:p>
          </p:txBody>
        </p:sp>
      </p:grpSp>
    </p:spTree>
    <p:extLst>
      <p:ext uri="{BB962C8B-B14F-4D97-AF65-F5344CB8AC3E}">
        <p14:creationId xmlns:p14="http://schemas.microsoft.com/office/powerpoint/2010/main" val="1636688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98229D7-A0C3-4F84-AA54-7874F824E7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631" imgH="631" progId="TCLayout.ActiveDocument.1">
                  <p:embed/>
                </p:oleObj>
              </mc:Choice>
              <mc:Fallback>
                <p:oleObj name="think-cell Slide" r:id="rId5" imgW="631" imgH="631" progId="TCLayout.ActiveDocument.1">
                  <p:embed/>
                  <p:pic>
                    <p:nvPicPr>
                      <p:cNvPr id="11" name="Object 10" hidden="1">
                        <a:extLst>
                          <a:ext uri="{FF2B5EF4-FFF2-40B4-BE49-F238E27FC236}">
                            <a16:creationId xmlns:a16="http://schemas.microsoft.com/office/drawing/2014/main" id="{598229D7-A0C3-4F84-AA54-7874F824E7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907B91-3B04-4138-B21A-24294518DB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ym typeface="+mn-lt"/>
            </a:endParaRPr>
          </a:p>
        </p:txBody>
      </p:sp>
      <p:sp>
        <p:nvSpPr>
          <p:cNvPr id="129" name="TextBox 128">
            <a:extLst>
              <a:ext uri="{FF2B5EF4-FFF2-40B4-BE49-F238E27FC236}">
                <a16:creationId xmlns:a16="http://schemas.microsoft.com/office/drawing/2014/main" id="{4DC65E4E-399A-43A7-85FE-541A4E4199CF}"/>
              </a:ext>
            </a:extLst>
          </p:cNvPr>
          <p:cNvSpPr txBox="1"/>
          <p:nvPr/>
        </p:nvSpPr>
        <p:spPr>
          <a:xfrm>
            <a:off x="175490" y="181525"/>
            <a:ext cx="11739417" cy="369332"/>
          </a:xfrm>
          <a:prstGeom prst="rect">
            <a:avLst/>
          </a:prstGeom>
          <a:noFill/>
        </p:spPr>
        <p:txBody>
          <a:bodyPr wrap="square" rtlCol="0">
            <a:spAutoFit/>
          </a:bodyPr>
          <a:lstStyle/>
          <a:p>
            <a:pPr algn="l"/>
            <a:r>
              <a:rPr lang="en-US" b="1" u="sng" dirty="0">
                <a:latin typeface="Arial" panose="020B0604020202020204" pitchFamily="34" charset="0"/>
                <a:cs typeface="Arial" panose="020B0604020202020204" pitchFamily="34" charset="0"/>
              </a:rPr>
              <a:t>What To Buy and From Where? (Part 2 of 3)</a:t>
            </a:r>
          </a:p>
        </p:txBody>
      </p:sp>
      <p:sp>
        <p:nvSpPr>
          <p:cNvPr id="16" name="Rectangle 15">
            <a:extLst>
              <a:ext uri="{FF2B5EF4-FFF2-40B4-BE49-F238E27FC236}">
                <a16:creationId xmlns:a16="http://schemas.microsoft.com/office/drawing/2014/main" id="{C5B602EA-7020-48E0-8534-5632D7268036}"/>
              </a:ext>
            </a:extLst>
          </p:cNvPr>
          <p:cNvSpPr/>
          <p:nvPr/>
        </p:nvSpPr>
        <p:spPr>
          <a:xfrm>
            <a:off x="10962942" y="149879"/>
            <a:ext cx="1002766" cy="266378"/>
          </a:xfrm>
          <a:prstGeom prst="rect">
            <a:avLst/>
          </a:pr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6 of 9 </a:t>
            </a:r>
          </a:p>
        </p:txBody>
      </p:sp>
      <p:sp>
        <p:nvSpPr>
          <p:cNvPr id="8" name="TextBox 7">
            <a:extLst>
              <a:ext uri="{FF2B5EF4-FFF2-40B4-BE49-F238E27FC236}">
                <a16:creationId xmlns:a16="http://schemas.microsoft.com/office/drawing/2014/main" id="{78AFED32-7E4A-471A-A82D-FAF3C2CE9368}"/>
              </a:ext>
            </a:extLst>
          </p:cNvPr>
          <p:cNvSpPr txBox="1"/>
          <p:nvPr/>
        </p:nvSpPr>
        <p:spPr>
          <a:xfrm>
            <a:off x="226291" y="708183"/>
            <a:ext cx="11739417" cy="307777"/>
          </a:xfrm>
          <a:prstGeom prst="rect">
            <a:avLst/>
          </a:prstGeom>
          <a:noFill/>
        </p:spPr>
        <p:txBody>
          <a:bodyPr wrap="square" rtlCol="0">
            <a:spAutoFit/>
          </a:bodyPr>
          <a:lstStyle/>
          <a:p>
            <a:pPr marL="285750" indent="-285750" algn="l">
              <a:spcBef>
                <a:spcPts val="400"/>
              </a:spcBef>
              <a:spcAft>
                <a:spcPts val="400"/>
              </a:spcAft>
              <a:buFont typeface="Wingdings" panose="05000000000000000000" pitchFamily="2" charset="2"/>
              <a:buChar char="§"/>
            </a:pPr>
            <a:r>
              <a:rPr lang="en-US" sz="1400" b="1" dirty="0">
                <a:latin typeface="Arial" panose="020B0604020202020204" pitchFamily="34" charset="0"/>
                <a:cs typeface="Arial" panose="020B0604020202020204" pitchFamily="34" charset="0"/>
              </a:rPr>
              <a:t>Tape</a:t>
            </a:r>
          </a:p>
        </p:txBody>
      </p:sp>
      <p:sp>
        <p:nvSpPr>
          <p:cNvPr id="28" name="TextBox 27">
            <a:extLst>
              <a:ext uri="{FF2B5EF4-FFF2-40B4-BE49-F238E27FC236}">
                <a16:creationId xmlns:a16="http://schemas.microsoft.com/office/drawing/2014/main" id="{FBBF1E7F-70C4-4C8C-BFDD-787A2C40EF8A}"/>
              </a:ext>
            </a:extLst>
          </p:cNvPr>
          <p:cNvSpPr txBox="1"/>
          <p:nvPr/>
        </p:nvSpPr>
        <p:spPr>
          <a:xfrm>
            <a:off x="226291" y="6279118"/>
            <a:ext cx="11739417" cy="340519"/>
          </a:xfrm>
          <a:prstGeom prst="roundRect">
            <a:avLst/>
          </a:prstGeom>
          <a:noFill/>
          <a:ln>
            <a:solidFill>
              <a:srgbClr val="EAEAEA"/>
            </a:solidFill>
          </a:ln>
        </p:spPr>
        <p:txBody>
          <a:bodyPr wrap="square" rtlCol="0" anchor="ctr">
            <a:spAutoFit/>
          </a:bodyPr>
          <a:lstStyle/>
          <a:p>
            <a:r>
              <a:rPr lang="en-US" sz="700" i="1" dirty="0"/>
              <a:t>Sources:</a:t>
            </a:r>
          </a:p>
          <a:p>
            <a:r>
              <a:rPr lang="en-US" sz="700" i="1" dirty="0"/>
              <a:t>3)        Tape by Duck Brand:  https://www.duckbrand.com/uploads/activities/pdf/Packaging-Tape-Gun-Instructions-FINAL-copy.pdf</a:t>
            </a:r>
          </a:p>
        </p:txBody>
      </p:sp>
      <p:graphicFrame>
        <p:nvGraphicFramePr>
          <p:cNvPr id="20" name="Table 7">
            <a:extLst>
              <a:ext uri="{FF2B5EF4-FFF2-40B4-BE49-F238E27FC236}">
                <a16:creationId xmlns:a16="http://schemas.microsoft.com/office/drawing/2014/main" id="{5D72554A-C209-4F2A-A3A5-FED46891F45F}"/>
              </a:ext>
            </a:extLst>
          </p:cNvPr>
          <p:cNvGraphicFramePr>
            <a:graphicFrameLocks noGrp="1"/>
          </p:cNvGraphicFramePr>
          <p:nvPr>
            <p:extLst>
              <p:ext uri="{D42A27DB-BD31-4B8C-83A1-F6EECF244321}">
                <p14:modId xmlns:p14="http://schemas.microsoft.com/office/powerpoint/2010/main" val="3124996999"/>
              </p:ext>
            </p:extLst>
          </p:nvPr>
        </p:nvGraphicFramePr>
        <p:xfrm>
          <a:off x="595061" y="1283322"/>
          <a:ext cx="6230282" cy="686526"/>
        </p:xfrm>
        <a:graphic>
          <a:graphicData uri="http://schemas.openxmlformats.org/drawingml/2006/table">
            <a:tbl>
              <a:tblPr firstRow="1" bandRow="1">
                <a:tableStyleId>{5C22544A-7EE6-4342-B048-85BDC9FD1C3A}</a:tableStyleId>
              </a:tblPr>
              <a:tblGrid>
                <a:gridCol w="1817939">
                  <a:extLst>
                    <a:ext uri="{9D8B030D-6E8A-4147-A177-3AD203B41FA5}">
                      <a16:colId xmlns:a16="http://schemas.microsoft.com/office/drawing/2014/main" val="1468568871"/>
                    </a:ext>
                  </a:extLst>
                </a:gridCol>
                <a:gridCol w="4412343">
                  <a:extLst>
                    <a:ext uri="{9D8B030D-6E8A-4147-A177-3AD203B41FA5}">
                      <a16:colId xmlns:a16="http://schemas.microsoft.com/office/drawing/2014/main" val="3402873440"/>
                    </a:ext>
                  </a:extLst>
                </a:gridCol>
              </a:tblGrid>
              <a:tr h="686526">
                <a:tc>
                  <a:txBody>
                    <a:bodyPr/>
                    <a:lstStyle/>
                    <a:p>
                      <a:pPr algn="ctr"/>
                      <a:r>
                        <a:rPr lang="en-US" sz="1050" dirty="0"/>
                        <a:t>Comment</a:t>
                      </a:r>
                    </a:p>
                  </a:txBody>
                  <a:tcPr anchor="ctr">
                    <a:lnB w="38100" cmpd="sng">
                      <a:noFill/>
                    </a:lnB>
                    <a:solidFill>
                      <a:srgbClr val="66023C"/>
                    </a:solidFill>
                  </a:tcPr>
                </a:tc>
                <a:tc>
                  <a:txBody>
                    <a:bodyPr/>
                    <a:lstStyle/>
                    <a:p>
                      <a:pPr marL="171450" indent="-171450" algn="l">
                        <a:buFont typeface="Arial" panose="020B0604020202020204" pitchFamily="34" charset="0"/>
                        <a:buChar char="•"/>
                      </a:pPr>
                      <a:r>
                        <a:rPr lang="en-US" sz="1050" b="0" dirty="0">
                          <a:solidFill>
                            <a:schemeClr val="tx1"/>
                          </a:solidFill>
                        </a:rPr>
                        <a:t>Shipping tape or other heavy-duty tapes work well otherwise the filter may occasionally fall down. </a:t>
                      </a:r>
                    </a:p>
                    <a:p>
                      <a:pPr marL="171450" indent="-171450" algn="l">
                        <a:buFont typeface="Arial" panose="020B0604020202020204" pitchFamily="34" charset="0"/>
                        <a:buChar char="•"/>
                      </a:pPr>
                      <a:r>
                        <a:rPr lang="en-US" sz="1050" b="0" dirty="0">
                          <a:solidFill>
                            <a:schemeClr val="tx1"/>
                          </a:solidFill>
                        </a:rPr>
                        <a:t>The tape is used to connect the filter to the fan.</a:t>
                      </a:r>
                    </a:p>
                  </a:txBody>
                  <a:tcPr anchor="ctr">
                    <a:lnB w="38100" cmpd="sng">
                      <a:noFill/>
                    </a:lnB>
                    <a:noFill/>
                  </a:tcPr>
                </a:tc>
                <a:extLst>
                  <a:ext uri="{0D108BD9-81ED-4DB2-BD59-A6C34878D82A}">
                    <a16:rowId xmlns:a16="http://schemas.microsoft.com/office/drawing/2014/main" val="3703857929"/>
                  </a:ext>
                </a:extLst>
              </a:tr>
            </a:tbl>
          </a:graphicData>
        </a:graphic>
      </p:graphicFrame>
      <p:graphicFrame>
        <p:nvGraphicFramePr>
          <p:cNvPr id="21" name="Table 20">
            <a:extLst>
              <a:ext uri="{FF2B5EF4-FFF2-40B4-BE49-F238E27FC236}">
                <a16:creationId xmlns:a16="http://schemas.microsoft.com/office/drawing/2014/main" id="{F95909AE-CD46-473B-8006-4117F08A4CD1}"/>
              </a:ext>
            </a:extLst>
          </p:cNvPr>
          <p:cNvGraphicFramePr>
            <a:graphicFrameLocks noGrp="1"/>
          </p:cNvGraphicFramePr>
          <p:nvPr>
            <p:extLst>
              <p:ext uri="{D42A27DB-BD31-4B8C-83A1-F6EECF244321}">
                <p14:modId xmlns:p14="http://schemas.microsoft.com/office/powerpoint/2010/main" val="2242472741"/>
              </p:ext>
            </p:extLst>
          </p:nvPr>
        </p:nvGraphicFramePr>
        <p:xfrm>
          <a:off x="595061" y="2237210"/>
          <a:ext cx="7521901" cy="3928768"/>
        </p:xfrm>
        <a:graphic>
          <a:graphicData uri="http://schemas.openxmlformats.org/drawingml/2006/table">
            <a:tbl>
              <a:tblPr firstRow="1" firstCol="1" bandRow="1">
                <a:tableStyleId>{5C22544A-7EE6-4342-B048-85BDC9FD1C3A}</a:tableStyleId>
              </a:tblPr>
              <a:tblGrid>
                <a:gridCol w="1325880">
                  <a:extLst>
                    <a:ext uri="{9D8B030D-6E8A-4147-A177-3AD203B41FA5}">
                      <a16:colId xmlns:a16="http://schemas.microsoft.com/office/drawing/2014/main" val="1318681184"/>
                    </a:ext>
                  </a:extLst>
                </a:gridCol>
                <a:gridCol w="969264">
                  <a:extLst>
                    <a:ext uri="{9D8B030D-6E8A-4147-A177-3AD203B41FA5}">
                      <a16:colId xmlns:a16="http://schemas.microsoft.com/office/drawing/2014/main" val="4235939734"/>
                    </a:ext>
                  </a:extLst>
                </a:gridCol>
                <a:gridCol w="2604325">
                  <a:extLst>
                    <a:ext uri="{9D8B030D-6E8A-4147-A177-3AD203B41FA5}">
                      <a16:colId xmlns:a16="http://schemas.microsoft.com/office/drawing/2014/main" val="2253768445"/>
                    </a:ext>
                  </a:extLst>
                </a:gridCol>
                <a:gridCol w="1311216">
                  <a:extLst>
                    <a:ext uri="{9D8B030D-6E8A-4147-A177-3AD203B41FA5}">
                      <a16:colId xmlns:a16="http://schemas.microsoft.com/office/drawing/2014/main" val="346862235"/>
                    </a:ext>
                  </a:extLst>
                </a:gridCol>
                <a:gridCol w="1311216">
                  <a:extLst>
                    <a:ext uri="{9D8B030D-6E8A-4147-A177-3AD203B41FA5}">
                      <a16:colId xmlns:a16="http://schemas.microsoft.com/office/drawing/2014/main" val="3237137502"/>
                    </a:ext>
                  </a:extLst>
                </a:gridCol>
              </a:tblGrid>
              <a:tr h="358500">
                <a:tc>
                  <a:txBody>
                    <a:bodyPr/>
                    <a:lstStyle/>
                    <a:p>
                      <a:endParaRPr lang="en-US" dirty="0"/>
                    </a:p>
                  </a:txBody>
                  <a:tcPr>
                    <a:lnL w="12700" cmpd="sng">
                      <a:noFill/>
                    </a:lnL>
                    <a:lnR w="12700" cmpd="sng">
                      <a:noFill/>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mpd="sng">
                      <a:noFill/>
                    </a:lnL>
                    <a:lnR w="9525"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175" marR="0" algn="ctr">
                        <a:lnSpc>
                          <a:spcPct val="107000"/>
                        </a:lnSpc>
                        <a:spcBef>
                          <a:spcPts val="0"/>
                        </a:spcBef>
                        <a:spcAft>
                          <a:spcPts val="0"/>
                        </a:spcAft>
                      </a:pPr>
                      <a:r>
                        <a:rPr lang="en-US" sz="1000" dirty="0">
                          <a:solidFill>
                            <a:schemeClr val="tx1"/>
                          </a:solidFill>
                          <a:effectLst/>
                        </a:rPr>
                        <a:t>What To Buy </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rom</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0" marR="0" algn="ctr">
                        <a:lnSpc>
                          <a:spcPct val="107000"/>
                        </a:lnSpc>
                        <a:spcBef>
                          <a:spcPts val="0"/>
                        </a:spcBef>
                        <a:spcAft>
                          <a:spcPts val="0"/>
                        </a:spcAft>
                      </a:pPr>
                      <a:r>
                        <a:rPr lang="en-US" sz="1000" dirty="0">
                          <a:solidFill>
                            <a:schemeClr val="tx1"/>
                          </a:solidFill>
                          <a:effectLst/>
                        </a:rPr>
                        <a:t>Cost</a:t>
                      </a:r>
                      <a:endPar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080833958"/>
                  </a:ext>
                </a:extLst>
              </a:tr>
              <a:tr h="302176">
                <a:tc rowSpan="10">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effectLst/>
                        </a:rPr>
                        <a:t>Necessary Products</a:t>
                      </a:r>
                      <a:endParaRPr lang="en-US" sz="10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AFABAB"/>
                    </a:solidFill>
                  </a:tcPr>
                </a:tc>
                <a:tc rowSpan="10">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hipping tape</a:t>
                      </a:r>
                    </a:p>
                    <a:p>
                      <a:pPr algn="ctr"/>
                      <a:endParaRPr lang="en-US"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F2F2"/>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uck 1.88-in x 22.2-Yard Clear Packaging Tape</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e’s</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58</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9043636"/>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uck Clear 1.88-in x 22.2-Yard Clear Packaging Tape</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e’s</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68</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64158254"/>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M Scotch 1.88 in. x 22.2 yds. Heavy Duty Shipping Packaging Tape with Dispenser</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me Depo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97</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6469857"/>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DX 1.88 in. x 22 yds. Clear Heavy Duty Shipping Packaging Tape with 1.5 in. Dispenser</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me Depo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97</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8000544"/>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cotch Shipping 2-in x 22.2-Yard Clear Packaging Tape</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e’s</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98</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3355078"/>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eavy Duty Shipping Tape with Dispenser –</a:t>
                      </a: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p&amp;Up</a:t>
                      </a:r>
                      <a:endPar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rge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99</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38179"/>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cotch Mailing Tape with Dispenser, Ultra Clear, 1.88” x 22.2yds</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rge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19</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1325877"/>
                  </a:ext>
                </a:extLst>
              </a:tr>
              <a:tr h="302176">
                <a:tc vMerge="1">
                  <a:txBody>
                    <a:bodyPr/>
                    <a:lstStyle/>
                    <a:p>
                      <a:endParaRPr lang="en-US"/>
                    </a:p>
                  </a:txBody>
                  <a:tcPr/>
                </a:tc>
                <a:tc vMerge="1">
                  <a:txBody>
                    <a:bodyPr/>
                    <a:lstStyle/>
                    <a:p>
                      <a:endParaRPr lang="en-US"/>
                    </a:p>
                  </a:txBody>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cotch Shipping * Packaging Tape and Dispenser, 1.88 in. x 50 yds.</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almar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86</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4446617"/>
                  </a:ext>
                </a:extLst>
              </a:tr>
              <a:tr h="302176">
                <a:tc vMerge="1">
                  <a:txBody>
                    <a:bodyPr/>
                    <a:lstStyle/>
                    <a:p>
                      <a:endParaRPr lang="en-US"/>
                    </a:p>
                  </a:txBody>
                  <a:tcPr>
                    <a:lnT w="9525" cap="flat" cmpd="sng" algn="ctr">
                      <a:solidFill>
                        <a:schemeClr val="tx1"/>
                      </a:solidFill>
                      <a:prstDash val="solid"/>
                      <a:round/>
                      <a:headEnd type="none" w="med" len="med"/>
                      <a:tailEnd type="none" w="med" len="med"/>
                    </a:lnT>
                  </a:tcPr>
                </a:tc>
                <a:tc vMerge="1">
                  <a:txBody>
                    <a:bodyPr/>
                    <a:lstStyle/>
                    <a:p>
                      <a:endParaRPr lang="en-US"/>
                    </a:p>
                  </a:txBody>
                  <a:tcPr>
                    <a:lnT w="9525" cap="flat" cmpd="sng" algn="ctr">
                      <a:solidFill>
                        <a:schemeClr val="tx1"/>
                      </a:solidFill>
                      <a:prstDash val="solid"/>
                      <a:round/>
                      <a:headEnd type="none" w="med" len="med"/>
                      <a:tailEnd type="none" w="med" len="med"/>
                    </a:lnT>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M Scotch 1.88 in x 50 yds. Shipping Tape with Dispenser</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me Depo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4.97</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5099536"/>
                  </a:ext>
                </a:extLst>
              </a:tr>
              <a:tr h="302176">
                <a:tc vMerge="1">
                  <a:txBody>
                    <a:bodyPr/>
                    <a:lstStyle/>
                    <a:p>
                      <a:pPr marL="0" marR="0" algn="ctr">
                        <a:lnSpc>
                          <a:spcPct val="107000"/>
                        </a:lnSpc>
                        <a:spcBef>
                          <a:spcPts val="0"/>
                        </a:spcBef>
                        <a:spcAft>
                          <a:spcPts val="0"/>
                        </a:spcAft>
                      </a:pPr>
                      <a:endParaRPr lang="en-US"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7362" marR="87362" marT="43681" marB="43681" anchor="ctr">
                    <a:lnL w="952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vMerge="1">
                  <a:txBody>
                    <a:bodyPr/>
                    <a:lstStyle/>
                    <a:p>
                      <a:pPr marL="0" marR="0" algn="ctr">
                        <a:lnSpc>
                          <a:spcPct val="107000"/>
                        </a:lnSpc>
                        <a:spcBef>
                          <a:spcPts val="0"/>
                        </a:spcBef>
                        <a:spcAft>
                          <a:spcPts val="0"/>
                        </a:spcAft>
                      </a:pP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22927" marR="22136" marT="25299" marB="0" anchor="ctr">
                    <a:lnL w="6350"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uck Brand Mover’s Edge </a:t>
                      </a:r>
                      <a:r>
                        <a:rPr lang="en-US" sz="1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filaable</a:t>
                      </a: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Dispenser – Printed Tape, 1.88 in. x 35 yds</a:t>
                      </a:r>
                    </a:p>
                  </a:txBody>
                  <a:tcPr marL="22927" marR="22136" marT="25299" marB="0" anchor="ctr">
                    <a:lnL w="952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almart</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4.97</a:t>
                      </a:r>
                    </a:p>
                  </a:txBody>
                  <a:tcPr marL="22927" marR="22136" marT="25299"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8509583"/>
                  </a:ext>
                </a:extLst>
              </a:tr>
            </a:tbl>
          </a:graphicData>
        </a:graphic>
      </p:graphicFrame>
      <p:grpSp>
        <p:nvGrpSpPr>
          <p:cNvPr id="18" name="Group 17">
            <a:extLst>
              <a:ext uri="{FF2B5EF4-FFF2-40B4-BE49-F238E27FC236}">
                <a16:creationId xmlns:a16="http://schemas.microsoft.com/office/drawing/2014/main" id="{F4EABF48-990C-4510-AAEF-9AE1673CBC47}"/>
              </a:ext>
            </a:extLst>
          </p:cNvPr>
          <p:cNvGrpSpPr/>
          <p:nvPr/>
        </p:nvGrpSpPr>
        <p:grpSpPr>
          <a:xfrm>
            <a:off x="9305992" y="2228850"/>
            <a:ext cx="2158333" cy="2400300"/>
            <a:chOff x="6699412" y="3763346"/>
            <a:chExt cx="2158333" cy="2400300"/>
          </a:xfrm>
        </p:grpSpPr>
        <p:pic>
          <p:nvPicPr>
            <p:cNvPr id="19" name="Picture 18">
              <a:extLst>
                <a:ext uri="{FF2B5EF4-FFF2-40B4-BE49-F238E27FC236}">
                  <a16:creationId xmlns:a16="http://schemas.microsoft.com/office/drawing/2014/main" id="{D6251603-0FE1-4D1C-8329-6029DEC23203}"/>
                </a:ext>
              </a:extLst>
            </p:cNvPr>
            <p:cNvPicPr>
              <a:picLocks noChangeAspect="1"/>
            </p:cNvPicPr>
            <p:nvPr/>
          </p:nvPicPr>
          <p:blipFill>
            <a:blip r:embed="rId7"/>
            <a:stretch>
              <a:fillRect/>
            </a:stretch>
          </p:blipFill>
          <p:spPr>
            <a:xfrm>
              <a:off x="6733670" y="3763346"/>
              <a:ext cx="2124075" cy="2400300"/>
            </a:xfrm>
            <a:prstGeom prst="rect">
              <a:avLst/>
            </a:prstGeom>
          </p:spPr>
        </p:pic>
        <p:sp>
          <p:nvSpPr>
            <p:cNvPr id="23" name="Rectangle 22">
              <a:extLst>
                <a:ext uri="{FF2B5EF4-FFF2-40B4-BE49-F238E27FC236}">
                  <a16:creationId xmlns:a16="http://schemas.microsoft.com/office/drawing/2014/main" id="{4456DA99-D646-4D7E-8843-558DCB0F67AC}"/>
                </a:ext>
              </a:extLst>
            </p:cNvPr>
            <p:cNvSpPr/>
            <p:nvPr/>
          </p:nvSpPr>
          <p:spPr>
            <a:xfrm>
              <a:off x="6733670" y="3894873"/>
              <a:ext cx="189644" cy="2416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5E14B0BF-CFBA-4923-84CC-07D1627C4C71}"/>
                </a:ext>
              </a:extLst>
            </p:cNvPr>
            <p:cNvSpPr/>
            <p:nvPr/>
          </p:nvSpPr>
          <p:spPr>
            <a:xfrm>
              <a:off x="6699412" y="3894873"/>
              <a:ext cx="391278" cy="2509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3)</a:t>
              </a:r>
            </a:p>
          </p:txBody>
        </p:sp>
      </p:grpSp>
    </p:spTree>
    <p:extLst>
      <p:ext uri="{BB962C8B-B14F-4D97-AF65-F5344CB8AC3E}">
        <p14:creationId xmlns:p14="http://schemas.microsoft.com/office/powerpoint/2010/main" val="4330380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98229D7-A0C3-4F84-AA54-7874F824E7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631" imgH="631" progId="TCLayout.ActiveDocument.1">
                  <p:embed/>
                </p:oleObj>
              </mc:Choice>
              <mc:Fallback>
                <p:oleObj name="think-cell Slide" r:id="rId5" imgW="631" imgH="631" progId="TCLayout.ActiveDocument.1">
                  <p:embed/>
                  <p:pic>
                    <p:nvPicPr>
                      <p:cNvPr id="11" name="Object 10" hidden="1">
                        <a:extLst>
                          <a:ext uri="{FF2B5EF4-FFF2-40B4-BE49-F238E27FC236}">
                            <a16:creationId xmlns:a16="http://schemas.microsoft.com/office/drawing/2014/main" id="{598229D7-A0C3-4F84-AA54-7874F824E7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907B91-3B04-4138-B21A-24294518DB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ym typeface="+mn-lt"/>
            </a:endParaRPr>
          </a:p>
        </p:txBody>
      </p:sp>
      <p:sp>
        <p:nvSpPr>
          <p:cNvPr id="129" name="TextBox 128">
            <a:extLst>
              <a:ext uri="{FF2B5EF4-FFF2-40B4-BE49-F238E27FC236}">
                <a16:creationId xmlns:a16="http://schemas.microsoft.com/office/drawing/2014/main" id="{4DC65E4E-399A-43A7-85FE-541A4E4199CF}"/>
              </a:ext>
            </a:extLst>
          </p:cNvPr>
          <p:cNvSpPr txBox="1"/>
          <p:nvPr/>
        </p:nvSpPr>
        <p:spPr>
          <a:xfrm>
            <a:off x="175490" y="181525"/>
            <a:ext cx="11739417" cy="369332"/>
          </a:xfrm>
          <a:prstGeom prst="rect">
            <a:avLst/>
          </a:prstGeom>
          <a:noFill/>
        </p:spPr>
        <p:txBody>
          <a:bodyPr wrap="square" rtlCol="0">
            <a:spAutoFit/>
          </a:bodyPr>
          <a:lstStyle/>
          <a:p>
            <a:pPr algn="l"/>
            <a:r>
              <a:rPr lang="en-US" b="1" u="sng" dirty="0">
                <a:latin typeface="Arial" panose="020B0604020202020204" pitchFamily="34" charset="0"/>
                <a:cs typeface="Arial" panose="020B0604020202020204" pitchFamily="34" charset="0"/>
              </a:rPr>
              <a:t>How To Construct (1 of 2)</a:t>
            </a:r>
          </a:p>
        </p:txBody>
      </p:sp>
      <p:sp>
        <p:nvSpPr>
          <p:cNvPr id="16" name="Rectangle 15">
            <a:extLst>
              <a:ext uri="{FF2B5EF4-FFF2-40B4-BE49-F238E27FC236}">
                <a16:creationId xmlns:a16="http://schemas.microsoft.com/office/drawing/2014/main" id="{C5B602EA-7020-48E0-8534-5632D7268036}"/>
              </a:ext>
            </a:extLst>
          </p:cNvPr>
          <p:cNvSpPr/>
          <p:nvPr/>
        </p:nvSpPr>
        <p:spPr>
          <a:xfrm>
            <a:off x="10962942" y="149879"/>
            <a:ext cx="1002766" cy="266378"/>
          </a:xfrm>
          <a:prstGeom prst="rect">
            <a:avLst/>
          </a:pr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7 of 9 </a:t>
            </a:r>
          </a:p>
        </p:txBody>
      </p:sp>
      <p:sp>
        <p:nvSpPr>
          <p:cNvPr id="8" name="TextBox 7">
            <a:extLst>
              <a:ext uri="{FF2B5EF4-FFF2-40B4-BE49-F238E27FC236}">
                <a16:creationId xmlns:a16="http://schemas.microsoft.com/office/drawing/2014/main" id="{78AFED32-7E4A-471A-A82D-FAF3C2CE9368}"/>
              </a:ext>
            </a:extLst>
          </p:cNvPr>
          <p:cNvSpPr txBox="1"/>
          <p:nvPr/>
        </p:nvSpPr>
        <p:spPr>
          <a:xfrm>
            <a:off x="226291" y="708183"/>
            <a:ext cx="11739417" cy="307777"/>
          </a:xfrm>
          <a:prstGeom prst="rect">
            <a:avLst/>
          </a:prstGeom>
          <a:noFill/>
        </p:spPr>
        <p:txBody>
          <a:bodyPr wrap="square" rtlCol="0">
            <a:spAutoFit/>
          </a:bodyPr>
          <a:lstStyle/>
          <a:p>
            <a:pPr marL="285750" indent="-285750" algn="l">
              <a:spcBef>
                <a:spcPts val="400"/>
              </a:spcBef>
              <a:spcAft>
                <a:spcPts val="400"/>
              </a:spcAft>
              <a:buFont typeface="Wingdings" panose="05000000000000000000" pitchFamily="2" charset="2"/>
              <a:buChar char="§"/>
            </a:pPr>
            <a:r>
              <a:rPr lang="en-US" sz="1400" b="1" dirty="0">
                <a:latin typeface="Arial" panose="020B0604020202020204" pitchFamily="34" charset="0"/>
                <a:cs typeface="Arial" panose="020B0604020202020204" pitchFamily="34" charset="0"/>
              </a:rPr>
              <a:t>Follow the steps in numerical order</a:t>
            </a:r>
          </a:p>
        </p:txBody>
      </p:sp>
      <p:cxnSp>
        <p:nvCxnSpPr>
          <p:cNvPr id="5" name="Straight Connector 4">
            <a:extLst>
              <a:ext uri="{FF2B5EF4-FFF2-40B4-BE49-F238E27FC236}">
                <a16:creationId xmlns:a16="http://schemas.microsoft.com/office/drawing/2014/main" id="{EBF8A748-4BB4-46F2-B4D4-D90DA093450A}"/>
              </a:ext>
            </a:extLst>
          </p:cNvPr>
          <p:cNvCxnSpPr/>
          <p:nvPr/>
        </p:nvCxnSpPr>
        <p:spPr>
          <a:xfrm>
            <a:off x="4267200" y="1301750"/>
            <a:ext cx="0" cy="44005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7ED6332-36C7-407B-99A6-F2C41880EA07}"/>
              </a:ext>
            </a:extLst>
          </p:cNvPr>
          <p:cNvGrpSpPr/>
          <p:nvPr/>
        </p:nvGrpSpPr>
        <p:grpSpPr>
          <a:xfrm>
            <a:off x="350075" y="1398084"/>
            <a:ext cx="3675819" cy="2030916"/>
            <a:chOff x="350075" y="1398084"/>
            <a:chExt cx="3675819" cy="2030916"/>
          </a:xfrm>
        </p:grpSpPr>
        <p:pic>
          <p:nvPicPr>
            <p:cNvPr id="12" name="Picture 11" descr="A picture containing text, drawing&#10;&#10;Description automatically generated">
              <a:extLst>
                <a:ext uri="{FF2B5EF4-FFF2-40B4-BE49-F238E27FC236}">
                  <a16:creationId xmlns:a16="http://schemas.microsoft.com/office/drawing/2014/main" id="{D21C4B17-57E7-47CB-8716-2F33645C411A}"/>
                </a:ext>
              </a:extLst>
            </p:cNvPr>
            <p:cNvPicPr>
              <a:picLocks noChangeAspect="1"/>
            </p:cNvPicPr>
            <p:nvPr/>
          </p:nvPicPr>
          <p:blipFill rotWithShape="1">
            <a:blip r:embed="rId7">
              <a:extLst>
                <a:ext uri="{28A0092B-C50C-407E-A947-70E740481C1C}">
                  <a14:useLocalDpi xmlns:a14="http://schemas.microsoft.com/office/drawing/2010/main" val="0"/>
                </a:ext>
              </a:extLst>
            </a:blip>
            <a:srcRect l="21962" t="21508" r="2416" b="9261"/>
            <a:stretch/>
          </p:blipFill>
          <p:spPr>
            <a:xfrm>
              <a:off x="615951" y="1718549"/>
              <a:ext cx="1868367" cy="1710451"/>
            </a:xfrm>
            <a:prstGeom prst="rect">
              <a:avLst/>
            </a:prstGeom>
          </p:spPr>
        </p:pic>
        <p:sp>
          <p:nvSpPr>
            <p:cNvPr id="26" name="TextBox 25">
              <a:extLst>
                <a:ext uri="{FF2B5EF4-FFF2-40B4-BE49-F238E27FC236}">
                  <a16:creationId xmlns:a16="http://schemas.microsoft.com/office/drawing/2014/main" id="{374954C5-CA6A-488D-9744-4DC83183B379}"/>
                </a:ext>
              </a:extLst>
            </p:cNvPr>
            <p:cNvSpPr txBox="1"/>
            <p:nvPr/>
          </p:nvSpPr>
          <p:spPr>
            <a:xfrm>
              <a:off x="350075" y="1398084"/>
              <a:ext cx="265876" cy="307777"/>
            </a:xfrm>
            <a:prstGeom prst="rect">
              <a:avLst/>
            </a:prstGeom>
            <a:noFill/>
          </p:spPr>
          <p:txBody>
            <a:bodyPr wrap="square" rtlCol="0">
              <a:spAutoFit/>
            </a:bodyPr>
            <a:lstStyle/>
            <a:p>
              <a:pPr algn="l">
                <a:spcBef>
                  <a:spcPts val="400"/>
                </a:spcBef>
                <a:spcAft>
                  <a:spcPts val="400"/>
                </a:spcAft>
              </a:pPr>
              <a:r>
                <a:rPr lang="en-US" sz="1400" b="1" dirty="0">
                  <a:latin typeface="Arial" panose="020B0604020202020204" pitchFamily="34" charset="0"/>
                  <a:cs typeface="Arial" panose="020B0604020202020204" pitchFamily="34" charset="0"/>
                </a:rPr>
                <a:t>1</a:t>
              </a:r>
            </a:p>
          </p:txBody>
        </p:sp>
        <p:sp>
          <p:nvSpPr>
            <p:cNvPr id="7" name="Rectangle 6">
              <a:extLst>
                <a:ext uri="{FF2B5EF4-FFF2-40B4-BE49-F238E27FC236}">
                  <a16:creationId xmlns:a16="http://schemas.microsoft.com/office/drawing/2014/main" id="{A5346099-B663-4898-B030-E56D16908DF4}"/>
                </a:ext>
              </a:extLst>
            </p:cNvPr>
            <p:cNvSpPr/>
            <p:nvPr/>
          </p:nvSpPr>
          <p:spPr>
            <a:xfrm>
              <a:off x="2578099" y="1828800"/>
              <a:ext cx="1447795" cy="1339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dirty="0">
                  <a:solidFill>
                    <a:schemeClr val="tx1"/>
                  </a:solidFill>
                </a:rPr>
                <a:t>Plug fan into wall.</a:t>
              </a:r>
            </a:p>
            <a:p>
              <a:pPr marL="171450" indent="-171450">
                <a:buFont typeface="Arial" panose="020B0604020202020204" pitchFamily="34" charset="0"/>
                <a:buChar char="•"/>
              </a:pPr>
              <a:r>
                <a:rPr lang="en-US" sz="1000" dirty="0">
                  <a:solidFill>
                    <a:schemeClr val="tx1"/>
                  </a:solidFill>
                </a:rPr>
                <a:t>Turn fan on.</a:t>
              </a:r>
            </a:p>
            <a:p>
              <a:pPr marL="171450" indent="-171450">
                <a:buFont typeface="Arial" panose="020B0604020202020204" pitchFamily="34" charset="0"/>
                <a:buChar char="•"/>
              </a:pPr>
              <a:endParaRPr lang="en-US" sz="1000" dirty="0">
                <a:solidFill>
                  <a:schemeClr val="tx1"/>
                </a:solidFill>
              </a:endParaRPr>
            </a:p>
          </p:txBody>
        </p:sp>
      </p:grpSp>
      <p:grpSp>
        <p:nvGrpSpPr>
          <p:cNvPr id="48" name="Group 47">
            <a:extLst>
              <a:ext uri="{FF2B5EF4-FFF2-40B4-BE49-F238E27FC236}">
                <a16:creationId xmlns:a16="http://schemas.microsoft.com/office/drawing/2014/main" id="{5F76FAF7-918C-427D-B057-B40FA267FA49}"/>
              </a:ext>
            </a:extLst>
          </p:cNvPr>
          <p:cNvGrpSpPr/>
          <p:nvPr/>
        </p:nvGrpSpPr>
        <p:grpSpPr>
          <a:xfrm>
            <a:off x="4866" y="3745468"/>
            <a:ext cx="4021028" cy="1952607"/>
            <a:chOff x="4881562" y="3795787"/>
            <a:chExt cx="4021028" cy="1952607"/>
          </a:xfrm>
        </p:grpSpPr>
        <p:grpSp>
          <p:nvGrpSpPr>
            <p:cNvPr id="62" name="Group 61">
              <a:extLst>
                <a:ext uri="{FF2B5EF4-FFF2-40B4-BE49-F238E27FC236}">
                  <a16:creationId xmlns:a16="http://schemas.microsoft.com/office/drawing/2014/main" id="{1D892E9A-B4E4-4242-BA4B-A3EE4742CFA2}"/>
                </a:ext>
              </a:extLst>
            </p:cNvPr>
            <p:cNvGrpSpPr/>
            <p:nvPr/>
          </p:nvGrpSpPr>
          <p:grpSpPr>
            <a:xfrm>
              <a:off x="5527768" y="3974083"/>
              <a:ext cx="1868361" cy="1774311"/>
              <a:chOff x="4573588" y="1718549"/>
              <a:chExt cx="2258532" cy="2067639"/>
            </a:xfrm>
          </p:grpSpPr>
          <p:pic>
            <p:nvPicPr>
              <p:cNvPr id="63" name="Picture 62" descr="A picture containing text, drawing&#10;&#10;Description automatically generated">
                <a:extLst>
                  <a:ext uri="{FF2B5EF4-FFF2-40B4-BE49-F238E27FC236}">
                    <a16:creationId xmlns:a16="http://schemas.microsoft.com/office/drawing/2014/main" id="{DD416DF2-38BD-432E-9709-B44BCE0E83F6}"/>
                  </a:ext>
                </a:extLst>
              </p:cNvPr>
              <p:cNvPicPr>
                <a:picLocks noChangeAspect="1"/>
              </p:cNvPicPr>
              <p:nvPr/>
            </p:nvPicPr>
            <p:blipFill rotWithShape="1">
              <a:blip r:embed="rId7">
                <a:extLst>
                  <a:ext uri="{28A0092B-C50C-407E-A947-70E740481C1C}">
                    <a14:useLocalDpi xmlns:a14="http://schemas.microsoft.com/office/drawing/2010/main" val="0"/>
                  </a:ext>
                </a:extLst>
              </a:blip>
              <a:srcRect l="21962" t="21508" r="2416" b="9261"/>
              <a:stretch/>
            </p:blipFill>
            <p:spPr>
              <a:xfrm>
                <a:off x="4573588" y="1718549"/>
                <a:ext cx="2258532" cy="2067639"/>
              </a:xfrm>
              <a:prstGeom prst="rect">
                <a:avLst/>
              </a:prstGeom>
            </p:spPr>
          </p:pic>
          <p:sp>
            <p:nvSpPr>
              <p:cNvPr id="64" name="Arrow: Down 63">
                <a:extLst>
                  <a:ext uri="{FF2B5EF4-FFF2-40B4-BE49-F238E27FC236}">
                    <a16:creationId xmlns:a16="http://schemas.microsoft.com/office/drawing/2014/main" id="{6A8B3A67-3B09-48C5-AAE3-0A263FC41F9C}"/>
                  </a:ext>
                </a:extLst>
              </p:cNvPr>
              <p:cNvSpPr/>
              <p:nvPr/>
            </p:nvSpPr>
            <p:spPr>
              <a:xfrm rot="5400000">
                <a:off x="6014123" y="2690845"/>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Arrow: Down 64">
                <a:extLst>
                  <a:ext uri="{FF2B5EF4-FFF2-40B4-BE49-F238E27FC236}">
                    <a16:creationId xmlns:a16="http://schemas.microsoft.com/office/drawing/2014/main" id="{5705A034-100E-4889-A3CE-4AA5A444315F}"/>
                  </a:ext>
                </a:extLst>
              </p:cNvPr>
              <p:cNvSpPr/>
              <p:nvPr/>
            </p:nvSpPr>
            <p:spPr>
              <a:xfrm rot="5400000">
                <a:off x="6015037" y="2889861"/>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Arrow: Down 65">
                <a:extLst>
                  <a:ext uri="{FF2B5EF4-FFF2-40B4-BE49-F238E27FC236}">
                    <a16:creationId xmlns:a16="http://schemas.microsoft.com/office/drawing/2014/main" id="{468EDC15-2EB3-4295-9AD8-2741BEB29422}"/>
                  </a:ext>
                </a:extLst>
              </p:cNvPr>
              <p:cNvSpPr/>
              <p:nvPr/>
            </p:nvSpPr>
            <p:spPr>
              <a:xfrm rot="5400000">
                <a:off x="6015037" y="3088878"/>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Arrow: Down 66">
                <a:extLst>
                  <a:ext uri="{FF2B5EF4-FFF2-40B4-BE49-F238E27FC236}">
                    <a16:creationId xmlns:a16="http://schemas.microsoft.com/office/drawing/2014/main" id="{55AF9F2C-9875-4FDC-9E63-D6C4C6CB3972}"/>
                  </a:ext>
                </a:extLst>
              </p:cNvPr>
              <p:cNvSpPr/>
              <p:nvPr/>
            </p:nvSpPr>
            <p:spPr>
              <a:xfrm rot="5400000">
                <a:off x="6014123" y="2491828"/>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Arrow: Down 67">
                <a:extLst>
                  <a:ext uri="{FF2B5EF4-FFF2-40B4-BE49-F238E27FC236}">
                    <a16:creationId xmlns:a16="http://schemas.microsoft.com/office/drawing/2014/main" id="{398ECE76-CA50-4A3B-9095-071119D1F363}"/>
                  </a:ext>
                </a:extLst>
              </p:cNvPr>
              <p:cNvSpPr/>
              <p:nvPr/>
            </p:nvSpPr>
            <p:spPr>
              <a:xfrm rot="5400000">
                <a:off x="6014122" y="2292811"/>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0" name="TextBox 69">
              <a:extLst>
                <a:ext uri="{FF2B5EF4-FFF2-40B4-BE49-F238E27FC236}">
                  <a16:creationId xmlns:a16="http://schemas.microsoft.com/office/drawing/2014/main" id="{536CB165-6CBF-4A58-AC1B-60ABEF4E5E22}"/>
                </a:ext>
              </a:extLst>
            </p:cNvPr>
            <p:cNvSpPr txBox="1"/>
            <p:nvPr/>
          </p:nvSpPr>
          <p:spPr>
            <a:xfrm>
              <a:off x="5231637" y="3795787"/>
              <a:ext cx="265876" cy="307777"/>
            </a:xfrm>
            <a:prstGeom prst="rect">
              <a:avLst/>
            </a:prstGeom>
            <a:noFill/>
          </p:spPr>
          <p:txBody>
            <a:bodyPr wrap="square" rtlCol="0">
              <a:spAutoFit/>
            </a:bodyPr>
            <a:lstStyle/>
            <a:p>
              <a:pPr algn="l">
                <a:spcBef>
                  <a:spcPts val="400"/>
                </a:spcBef>
                <a:spcAft>
                  <a:spcPts val="400"/>
                </a:spcAft>
              </a:pPr>
              <a:r>
                <a:rPr lang="en-US" sz="1400" b="1" dirty="0">
                  <a:latin typeface="Arial" panose="020B0604020202020204" pitchFamily="34" charset="0"/>
                  <a:cs typeface="Arial" panose="020B0604020202020204" pitchFamily="34" charset="0"/>
                </a:rPr>
                <a:t>2</a:t>
              </a:r>
            </a:p>
          </p:txBody>
        </p:sp>
        <p:grpSp>
          <p:nvGrpSpPr>
            <p:cNvPr id="72" name="Group 71">
              <a:extLst>
                <a:ext uri="{FF2B5EF4-FFF2-40B4-BE49-F238E27FC236}">
                  <a16:creationId xmlns:a16="http://schemas.microsoft.com/office/drawing/2014/main" id="{95EB25DE-F153-4269-AF75-2A3365C1AD1B}"/>
                </a:ext>
              </a:extLst>
            </p:cNvPr>
            <p:cNvGrpSpPr/>
            <p:nvPr/>
          </p:nvGrpSpPr>
          <p:grpSpPr>
            <a:xfrm>
              <a:off x="4881562" y="4726936"/>
              <a:ext cx="1054100" cy="247650"/>
              <a:chOff x="0" y="4489450"/>
              <a:chExt cx="1054100" cy="247650"/>
            </a:xfrm>
          </p:grpSpPr>
          <p:sp>
            <p:nvSpPr>
              <p:cNvPr id="80" name="Freeform: Shape 79">
                <a:extLst>
                  <a:ext uri="{FF2B5EF4-FFF2-40B4-BE49-F238E27FC236}">
                    <a16:creationId xmlns:a16="http://schemas.microsoft.com/office/drawing/2014/main" id="{21D9CA7E-C78D-4424-9B93-BFA72093FC90}"/>
                  </a:ext>
                </a:extLst>
              </p:cNvPr>
              <p:cNvSpPr/>
              <p:nvPr/>
            </p:nvSpPr>
            <p:spPr>
              <a:xfrm>
                <a:off x="139700" y="4489450"/>
                <a:ext cx="914400" cy="247650"/>
              </a:xfrm>
              <a:custGeom>
                <a:avLst/>
                <a:gdLst>
                  <a:gd name="connsiteX0" fmla="*/ 0 w 914400"/>
                  <a:gd name="connsiteY0" fmla="*/ 152400 h 247650"/>
                  <a:gd name="connsiteX1" fmla="*/ 69850 w 914400"/>
                  <a:gd name="connsiteY1" fmla="*/ 190500 h 247650"/>
                  <a:gd name="connsiteX2" fmla="*/ 88900 w 914400"/>
                  <a:gd name="connsiteY2" fmla="*/ 196850 h 247650"/>
                  <a:gd name="connsiteX3" fmla="*/ 165100 w 914400"/>
                  <a:gd name="connsiteY3" fmla="*/ 190500 h 247650"/>
                  <a:gd name="connsiteX4" fmla="*/ 190500 w 914400"/>
                  <a:gd name="connsiteY4" fmla="*/ 184150 h 247650"/>
                  <a:gd name="connsiteX5" fmla="*/ 247650 w 914400"/>
                  <a:gd name="connsiteY5" fmla="*/ 171450 h 247650"/>
                  <a:gd name="connsiteX6" fmla="*/ 298450 w 914400"/>
                  <a:gd name="connsiteY6" fmla="*/ 139700 h 247650"/>
                  <a:gd name="connsiteX7" fmla="*/ 381000 w 914400"/>
                  <a:gd name="connsiteY7" fmla="*/ 69850 h 247650"/>
                  <a:gd name="connsiteX8" fmla="*/ 387350 w 914400"/>
                  <a:gd name="connsiteY8" fmla="*/ 50800 h 247650"/>
                  <a:gd name="connsiteX9" fmla="*/ 368300 w 914400"/>
                  <a:gd name="connsiteY9" fmla="*/ 6350 h 247650"/>
                  <a:gd name="connsiteX10" fmla="*/ 349250 w 914400"/>
                  <a:gd name="connsiteY10" fmla="*/ 0 h 247650"/>
                  <a:gd name="connsiteX11" fmla="*/ 292100 w 914400"/>
                  <a:gd name="connsiteY11" fmla="*/ 19050 h 247650"/>
                  <a:gd name="connsiteX12" fmla="*/ 279400 w 914400"/>
                  <a:gd name="connsiteY12" fmla="*/ 38100 h 247650"/>
                  <a:gd name="connsiteX13" fmla="*/ 266700 w 914400"/>
                  <a:gd name="connsiteY13" fmla="*/ 63500 h 247650"/>
                  <a:gd name="connsiteX14" fmla="*/ 254000 w 914400"/>
                  <a:gd name="connsiteY14" fmla="*/ 101600 h 247650"/>
                  <a:gd name="connsiteX15" fmla="*/ 260350 w 914400"/>
                  <a:gd name="connsiteY15" fmla="*/ 152400 h 247650"/>
                  <a:gd name="connsiteX16" fmla="*/ 298450 w 914400"/>
                  <a:gd name="connsiteY16" fmla="*/ 203200 h 247650"/>
                  <a:gd name="connsiteX17" fmla="*/ 311150 w 914400"/>
                  <a:gd name="connsiteY17" fmla="*/ 222250 h 247650"/>
                  <a:gd name="connsiteX18" fmla="*/ 368300 w 914400"/>
                  <a:gd name="connsiteY18" fmla="*/ 247650 h 247650"/>
                  <a:gd name="connsiteX19" fmla="*/ 469900 w 914400"/>
                  <a:gd name="connsiteY19" fmla="*/ 241300 h 247650"/>
                  <a:gd name="connsiteX20" fmla="*/ 495300 w 914400"/>
                  <a:gd name="connsiteY20" fmla="*/ 234950 h 247650"/>
                  <a:gd name="connsiteX21" fmla="*/ 552450 w 914400"/>
                  <a:gd name="connsiteY21" fmla="*/ 215900 h 247650"/>
                  <a:gd name="connsiteX22" fmla="*/ 571500 w 914400"/>
                  <a:gd name="connsiteY22" fmla="*/ 209550 h 247650"/>
                  <a:gd name="connsiteX23" fmla="*/ 609600 w 914400"/>
                  <a:gd name="connsiteY23" fmla="*/ 190500 h 247650"/>
                  <a:gd name="connsiteX24" fmla="*/ 666750 w 914400"/>
                  <a:gd name="connsiteY24" fmla="*/ 127000 h 247650"/>
                  <a:gd name="connsiteX25" fmla="*/ 673100 w 914400"/>
                  <a:gd name="connsiteY25" fmla="*/ 63500 h 247650"/>
                  <a:gd name="connsiteX26" fmla="*/ 660400 w 914400"/>
                  <a:gd name="connsiteY26" fmla="*/ 44450 h 247650"/>
                  <a:gd name="connsiteX27" fmla="*/ 584200 w 914400"/>
                  <a:gd name="connsiteY27" fmla="*/ 69850 h 247650"/>
                  <a:gd name="connsiteX28" fmla="*/ 577850 w 914400"/>
                  <a:gd name="connsiteY28" fmla="*/ 88900 h 247650"/>
                  <a:gd name="connsiteX29" fmla="*/ 590550 w 914400"/>
                  <a:gd name="connsiteY29" fmla="*/ 165100 h 247650"/>
                  <a:gd name="connsiteX30" fmla="*/ 850900 w 914400"/>
                  <a:gd name="connsiteY30" fmla="*/ 247650 h 247650"/>
                  <a:gd name="connsiteX31" fmla="*/ 889000 w 914400"/>
                  <a:gd name="connsiteY31" fmla="*/ 234950 h 247650"/>
                  <a:gd name="connsiteX32" fmla="*/ 908050 w 914400"/>
                  <a:gd name="connsiteY32" fmla="*/ 228600 h 247650"/>
                  <a:gd name="connsiteX33" fmla="*/ 914400 w 914400"/>
                  <a:gd name="connsiteY33" fmla="*/ 21590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 h="247650">
                    <a:moveTo>
                      <a:pt x="0" y="152400"/>
                    </a:moveTo>
                    <a:cubicBezTo>
                      <a:pt x="42203" y="186163"/>
                      <a:pt x="18892" y="173514"/>
                      <a:pt x="69850" y="190500"/>
                    </a:cubicBezTo>
                    <a:lnTo>
                      <a:pt x="88900" y="196850"/>
                    </a:lnTo>
                    <a:cubicBezTo>
                      <a:pt x="114300" y="194733"/>
                      <a:pt x="139809" y="193661"/>
                      <a:pt x="165100" y="190500"/>
                    </a:cubicBezTo>
                    <a:cubicBezTo>
                      <a:pt x="173760" y="189418"/>
                      <a:pt x="181981" y="186043"/>
                      <a:pt x="190500" y="184150"/>
                    </a:cubicBezTo>
                    <a:cubicBezTo>
                      <a:pt x="263054" y="168027"/>
                      <a:pt x="185705" y="186936"/>
                      <a:pt x="247650" y="171450"/>
                    </a:cubicBezTo>
                    <a:cubicBezTo>
                      <a:pt x="264583" y="160867"/>
                      <a:pt x="282688" y="151960"/>
                      <a:pt x="298450" y="139700"/>
                    </a:cubicBezTo>
                    <a:cubicBezTo>
                      <a:pt x="365051" y="87899"/>
                      <a:pt x="338535" y="112315"/>
                      <a:pt x="381000" y="69850"/>
                    </a:cubicBezTo>
                    <a:cubicBezTo>
                      <a:pt x="383117" y="63500"/>
                      <a:pt x="387350" y="57493"/>
                      <a:pt x="387350" y="50800"/>
                    </a:cubicBezTo>
                    <a:cubicBezTo>
                      <a:pt x="387350" y="38598"/>
                      <a:pt x="378669" y="14646"/>
                      <a:pt x="368300" y="6350"/>
                    </a:cubicBezTo>
                    <a:cubicBezTo>
                      <a:pt x="363073" y="2169"/>
                      <a:pt x="355600" y="2117"/>
                      <a:pt x="349250" y="0"/>
                    </a:cubicBezTo>
                    <a:cubicBezTo>
                      <a:pt x="323707" y="4257"/>
                      <a:pt x="309958" y="1192"/>
                      <a:pt x="292100" y="19050"/>
                    </a:cubicBezTo>
                    <a:cubicBezTo>
                      <a:pt x="286704" y="24446"/>
                      <a:pt x="283186" y="31474"/>
                      <a:pt x="279400" y="38100"/>
                    </a:cubicBezTo>
                    <a:cubicBezTo>
                      <a:pt x="274704" y="46319"/>
                      <a:pt x="270216" y="54711"/>
                      <a:pt x="266700" y="63500"/>
                    </a:cubicBezTo>
                    <a:cubicBezTo>
                      <a:pt x="261728" y="75929"/>
                      <a:pt x="254000" y="101600"/>
                      <a:pt x="254000" y="101600"/>
                    </a:cubicBezTo>
                    <a:cubicBezTo>
                      <a:pt x="256117" y="118533"/>
                      <a:pt x="256211" y="135844"/>
                      <a:pt x="260350" y="152400"/>
                    </a:cubicBezTo>
                    <a:cubicBezTo>
                      <a:pt x="267153" y="179611"/>
                      <a:pt x="280589" y="182363"/>
                      <a:pt x="298450" y="203200"/>
                    </a:cubicBezTo>
                    <a:cubicBezTo>
                      <a:pt x="303417" y="208994"/>
                      <a:pt x="305287" y="217364"/>
                      <a:pt x="311150" y="222250"/>
                    </a:cubicBezTo>
                    <a:cubicBezTo>
                      <a:pt x="319364" y="229095"/>
                      <a:pt x="360732" y="244623"/>
                      <a:pt x="368300" y="247650"/>
                    </a:cubicBezTo>
                    <a:cubicBezTo>
                      <a:pt x="402167" y="245533"/>
                      <a:pt x="436136" y="244676"/>
                      <a:pt x="469900" y="241300"/>
                    </a:cubicBezTo>
                    <a:cubicBezTo>
                      <a:pt x="478584" y="240432"/>
                      <a:pt x="486941" y="237458"/>
                      <a:pt x="495300" y="234950"/>
                    </a:cubicBezTo>
                    <a:cubicBezTo>
                      <a:pt x="514534" y="229180"/>
                      <a:pt x="533400" y="222250"/>
                      <a:pt x="552450" y="215900"/>
                    </a:cubicBezTo>
                    <a:lnTo>
                      <a:pt x="571500" y="209550"/>
                    </a:lnTo>
                    <a:cubicBezTo>
                      <a:pt x="589153" y="203666"/>
                      <a:pt x="594828" y="203630"/>
                      <a:pt x="609600" y="190500"/>
                    </a:cubicBezTo>
                    <a:cubicBezTo>
                      <a:pt x="643788" y="160111"/>
                      <a:pt x="643639" y="157815"/>
                      <a:pt x="666750" y="127000"/>
                    </a:cubicBezTo>
                    <a:cubicBezTo>
                      <a:pt x="677610" y="94421"/>
                      <a:pt x="685696" y="92890"/>
                      <a:pt x="673100" y="63500"/>
                    </a:cubicBezTo>
                    <a:cubicBezTo>
                      <a:pt x="670094" y="56485"/>
                      <a:pt x="664633" y="50800"/>
                      <a:pt x="660400" y="44450"/>
                    </a:cubicBezTo>
                    <a:cubicBezTo>
                      <a:pt x="607277" y="49762"/>
                      <a:pt x="602252" y="33745"/>
                      <a:pt x="584200" y="69850"/>
                    </a:cubicBezTo>
                    <a:cubicBezTo>
                      <a:pt x="581207" y="75837"/>
                      <a:pt x="579967" y="82550"/>
                      <a:pt x="577850" y="88900"/>
                    </a:cubicBezTo>
                    <a:cubicBezTo>
                      <a:pt x="582083" y="114300"/>
                      <a:pt x="573653" y="145669"/>
                      <a:pt x="590550" y="165100"/>
                    </a:cubicBezTo>
                    <a:cubicBezTo>
                      <a:pt x="667468" y="253555"/>
                      <a:pt x="746913" y="238608"/>
                      <a:pt x="850900" y="247650"/>
                    </a:cubicBezTo>
                    <a:lnTo>
                      <a:pt x="889000" y="234950"/>
                    </a:lnTo>
                    <a:cubicBezTo>
                      <a:pt x="895350" y="232833"/>
                      <a:pt x="905057" y="234587"/>
                      <a:pt x="908050" y="228600"/>
                    </a:cubicBezTo>
                    <a:lnTo>
                      <a:pt x="914400" y="215900"/>
                    </a:lnTo>
                  </a:path>
                </a:pathLst>
              </a:cu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023C"/>
                  </a:solidFill>
                </a:endParaRPr>
              </a:p>
            </p:txBody>
          </p:sp>
          <p:sp>
            <p:nvSpPr>
              <p:cNvPr id="81" name="Isosceles Triangle 80">
                <a:extLst>
                  <a:ext uri="{FF2B5EF4-FFF2-40B4-BE49-F238E27FC236}">
                    <a16:creationId xmlns:a16="http://schemas.microsoft.com/office/drawing/2014/main" id="{A1E9B2B9-4A63-47DC-9826-3A1232E55E10}"/>
                  </a:ext>
                </a:extLst>
              </p:cNvPr>
              <p:cNvSpPr/>
              <p:nvPr/>
            </p:nvSpPr>
            <p:spPr>
              <a:xfrm rot="16200000">
                <a:off x="61933" y="4551342"/>
                <a:ext cx="123784" cy="247650"/>
              </a:xfrm>
              <a:prstGeom prst="triangle">
                <a:avLst/>
              </a:prstGeom>
              <a:solidFill>
                <a:srgbClr val="66023C"/>
              </a:solid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023C"/>
                  </a:solidFill>
                </a:endParaRPr>
              </a:p>
            </p:txBody>
          </p:sp>
        </p:grpSp>
        <p:grpSp>
          <p:nvGrpSpPr>
            <p:cNvPr id="73" name="Group 72">
              <a:extLst>
                <a:ext uri="{FF2B5EF4-FFF2-40B4-BE49-F238E27FC236}">
                  <a16:creationId xmlns:a16="http://schemas.microsoft.com/office/drawing/2014/main" id="{48507EA1-C9AF-4864-AC53-8767673E27D6}"/>
                </a:ext>
              </a:extLst>
            </p:cNvPr>
            <p:cNvGrpSpPr/>
            <p:nvPr/>
          </p:nvGrpSpPr>
          <p:grpSpPr>
            <a:xfrm>
              <a:off x="5408612" y="5084679"/>
              <a:ext cx="1054100" cy="247650"/>
              <a:chOff x="0" y="4489450"/>
              <a:chExt cx="1054100" cy="247650"/>
            </a:xfrm>
          </p:grpSpPr>
          <p:sp>
            <p:nvSpPr>
              <p:cNvPr id="78" name="Freeform: Shape 77">
                <a:extLst>
                  <a:ext uri="{FF2B5EF4-FFF2-40B4-BE49-F238E27FC236}">
                    <a16:creationId xmlns:a16="http://schemas.microsoft.com/office/drawing/2014/main" id="{98EB2A5B-883D-4A56-8189-05120E2EB28C}"/>
                  </a:ext>
                </a:extLst>
              </p:cNvPr>
              <p:cNvSpPr/>
              <p:nvPr/>
            </p:nvSpPr>
            <p:spPr>
              <a:xfrm>
                <a:off x="139700" y="4489450"/>
                <a:ext cx="914400" cy="247650"/>
              </a:xfrm>
              <a:custGeom>
                <a:avLst/>
                <a:gdLst>
                  <a:gd name="connsiteX0" fmla="*/ 0 w 914400"/>
                  <a:gd name="connsiteY0" fmla="*/ 152400 h 247650"/>
                  <a:gd name="connsiteX1" fmla="*/ 69850 w 914400"/>
                  <a:gd name="connsiteY1" fmla="*/ 190500 h 247650"/>
                  <a:gd name="connsiteX2" fmla="*/ 88900 w 914400"/>
                  <a:gd name="connsiteY2" fmla="*/ 196850 h 247650"/>
                  <a:gd name="connsiteX3" fmla="*/ 165100 w 914400"/>
                  <a:gd name="connsiteY3" fmla="*/ 190500 h 247650"/>
                  <a:gd name="connsiteX4" fmla="*/ 190500 w 914400"/>
                  <a:gd name="connsiteY4" fmla="*/ 184150 h 247650"/>
                  <a:gd name="connsiteX5" fmla="*/ 247650 w 914400"/>
                  <a:gd name="connsiteY5" fmla="*/ 171450 h 247650"/>
                  <a:gd name="connsiteX6" fmla="*/ 298450 w 914400"/>
                  <a:gd name="connsiteY6" fmla="*/ 139700 h 247650"/>
                  <a:gd name="connsiteX7" fmla="*/ 381000 w 914400"/>
                  <a:gd name="connsiteY7" fmla="*/ 69850 h 247650"/>
                  <a:gd name="connsiteX8" fmla="*/ 387350 w 914400"/>
                  <a:gd name="connsiteY8" fmla="*/ 50800 h 247650"/>
                  <a:gd name="connsiteX9" fmla="*/ 368300 w 914400"/>
                  <a:gd name="connsiteY9" fmla="*/ 6350 h 247650"/>
                  <a:gd name="connsiteX10" fmla="*/ 349250 w 914400"/>
                  <a:gd name="connsiteY10" fmla="*/ 0 h 247650"/>
                  <a:gd name="connsiteX11" fmla="*/ 292100 w 914400"/>
                  <a:gd name="connsiteY11" fmla="*/ 19050 h 247650"/>
                  <a:gd name="connsiteX12" fmla="*/ 279400 w 914400"/>
                  <a:gd name="connsiteY12" fmla="*/ 38100 h 247650"/>
                  <a:gd name="connsiteX13" fmla="*/ 266700 w 914400"/>
                  <a:gd name="connsiteY13" fmla="*/ 63500 h 247650"/>
                  <a:gd name="connsiteX14" fmla="*/ 254000 w 914400"/>
                  <a:gd name="connsiteY14" fmla="*/ 101600 h 247650"/>
                  <a:gd name="connsiteX15" fmla="*/ 260350 w 914400"/>
                  <a:gd name="connsiteY15" fmla="*/ 152400 h 247650"/>
                  <a:gd name="connsiteX16" fmla="*/ 298450 w 914400"/>
                  <a:gd name="connsiteY16" fmla="*/ 203200 h 247650"/>
                  <a:gd name="connsiteX17" fmla="*/ 311150 w 914400"/>
                  <a:gd name="connsiteY17" fmla="*/ 222250 h 247650"/>
                  <a:gd name="connsiteX18" fmla="*/ 368300 w 914400"/>
                  <a:gd name="connsiteY18" fmla="*/ 247650 h 247650"/>
                  <a:gd name="connsiteX19" fmla="*/ 469900 w 914400"/>
                  <a:gd name="connsiteY19" fmla="*/ 241300 h 247650"/>
                  <a:gd name="connsiteX20" fmla="*/ 495300 w 914400"/>
                  <a:gd name="connsiteY20" fmla="*/ 234950 h 247650"/>
                  <a:gd name="connsiteX21" fmla="*/ 552450 w 914400"/>
                  <a:gd name="connsiteY21" fmla="*/ 215900 h 247650"/>
                  <a:gd name="connsiteX22" fmla="*/ 571500 w 914400"/>
                  <a:gd name="connsiteY22" fmla="*/ 209550 h 247650"/>
                  <a:gd name="connsiteX23" fmla="*/ 609600 w 914400"/>
                  <a:gd name="connsiteY23" fmla="*/ 190500 h 247650"/>
                  <a:gd name="connsiteX24" fmla="*/ 666750 w 914400"/>
                  <a:gd name="connsiteY24" fmla="*/ 127000 h 247650"/>
                  <a:gd name="connsiteX25" fmla="*/ 673100 w 914400"/>
                  <a:gd name="connsiteY25" fmla="*/ 63500 h 247650"/>
                  <a:gd name="connsiteX26" fmla="*/ 660400 w 914400"/>
                  <a:gd name="connsiteY26" fmla="*/ 44450 h 247650"/>
                  <a:gd name="connsiteX27" fmla="*/ 584200 w 914400"/>
                  <a:gd name="connsiteY27" fmla="*/ 69850 h 247650"/>
                  <a:gd name="connsiteX28" fmla="*/ 577850 w 914400"/>
                  <a:gd name="connsiteY28" fmla="*/ 88900 h 247650"/>
                  <a:gd name="connsiteX29" fmla="*/ 590550 w 914400"/>
                  <a:gd name="connsiteY29" fmla="*/ 165100 h 247650"/>
                  <a:gd name="connsiteX30" fmla="*/ 850900 w 914400"/>
                  <a:gd name="connsiteY30" fmla="*/ 247650 h 247650"/>
                  <a:gd name="connsiteX31" fmla="*/ 889000 w 914400"/>
                  <a:gd name="connsiteY31" fmla="*/ 234950 h 247650"/>
                  <a:gd name="connsiteX32" fmla="*/ 908050 w 914400"/>
                  <a:gd name="connsiteY32" fmla="*/ 228600 h 247650"/>
                  <a:gd name="connsiteX33" fmla="*/ 914400 w 914400"/>
                  <a:gd name="connsiteY33" fmla="*/ 21590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 h="247650">
                    <a:moveTo>
                      <a:pt x="0" y="152400"/>
                    </a:moveTo>
                    <a:cubicBezTo>
                      <a:pt x="42203" y="186163"/>
                      <a:pt x="18892" y="173514"/>
                      <a:pt x="69850" y="190500"/>
                    </a:cubicBezTo>
                    <a:lnTo>
                      <a:pt x="88900" y="196850"/>
                    </a:lnTo>
                    <a:cubicBezTo>
                      <a:pt x="114300" y="194733"/>
                      <a:pt x="139809" y="193661"/>
                      <a:pt x="165100" y="190500"/>
                    </a:cubicBezTo>
                    <a:cubicBezTo>
                      <a:pt x="173760" y="189418"/>
                      <a:pt x="181981" y="186043"/>
                      <a:pt x="190500" y="184150"/>
                    </a:cubicBezTo>
                    <a:cubicBezTo>
                      <a:pt x="263054" y="168027"/>
                      <a:pt x="185705" y="186936"/>
                      <a:pt x="247650" y="171450"/>
                    </a:cubicBezTo>
                    <a:cubicBezTo>
                      <a:pt x="264583" y="160867"/>
                      <a:pt x="282688" y="151960"/>
                      <a:pt x="298450" y="139700"/>
                    </a:cubicBezTo>
                    <a:cubicBezTo>
                      <a:pt x="365051" y="87899"/>
                      <a:pt x="338535" y="112315"/>
                      <a:pt x="381000" y="69850"/>
                    </a:cubicBezTo>
                    <a:cubicBezTo>
                      <a:pt x="383117" y="63500"/>
                      <a:pt x="387350" y="57493"/>
                      <a:pt x="387350" y="50800"/>
                    </a:cubicBezTo>
                    <a:cubicBezTo>
                      <a:pt x="387350" y="38598"/>
                      <a:pt x="378669" y="14646"/>
                      <a:pt x="368300" y="6350"/>
                    </a:cubicBezTo>
                    <a:cubicBezTo>
                      <a:pt x="363073" y="2169"/>
                      <a:pt x="355600" y="2117"/>
                      <a:pt x="349250" y="0"/>
                    </a:cubicBezTo>
                    <a:cubicBezTo>
                      <a:pt x="323707" y="4257"/>
                      <a:pt x="309958" y="1192"/>
                      <a:pt x="292100" y="19050"/>
                    </a:cubicBezTo>
                    <a:cubicBezTo>
                      <a:pt x="286704" y="24446"/>
                      <a:pt x="283186" y="31474"/>
                      <a:pt x="279400" y="38100"/>
                    </a:cubicBezTo>
                    <a:cubicBezTo>
                      <a:pt x="274704" y="46319"/>
                      <a:pt x="270216" y="54711"/>
                      <a:pt x="266700" y="63500"/>
                    </a:cubicBezTo>
                    <a:cubicBezTo>
                      <a:pt x="261728" y="75929"/>
                      <a:pt x="254000" y="101600"/>
                      <a:pt x="254000" y="101600"/>
                    </a:cubicBezTo>
                    <a:cubicBezTo>
                      <a:pt x="256117" y="118533"/>
                      <a:pt x="256211" y="135844"/>
                      <a:pt x="260350" y="152400"/>
                    </a:cubicBezTo>
                    <a:cubicBezTo>
                      <a:pt x="267153" y="179611"/>
                      <a:pt x="280589" y="182363"/>
                      <a:pt x="298450" y="203200"/>
                    </a:cubicBezTo>
                    <a:cubicBezTo>
                      <a:pt x="303417" y="208994"/>
                      <a:pt x="305287" y="217364"/>
                      <a:pt x="311150" y="222250"/>
                    </a:cubicBezTo>
                    <a:cubicBezTo>
                      <a:pt x="319364" y="229095"/>
                      <a:pt x="360732" y="244623"/>
                      <a:pt x="368300" y="247650"/>
                    </a:cubicBezTo>
                    <a:cubicBezTo>
                      <a:pt x="402167" y="245533"/>
                      <a:pt x="436136" y="244676"/>
                      <a:pt x="469900" y="241300"/>
                    </a:cubicBezTo>
                    <a:cubicBezTo>
                      <a:pt x="478584" y="240432"/>
                      <a:pt x="486941" y="237458"/>
                      <a:pt x="495300" y="234950"/>
                    </a:cubicBezTo>
                    <a:cubicBezTo>
                      <a:pt x="514534" y="229180"/>
                      <a:pt x="533400" y="222250"/>
                      <a:pt x="552450" y="215900"/>
                    </a:cubicBezTo>
                    <a:lnTo>
                      <a:pt x="571500" y="209550"/>
                    </a:lnTo>
                    <a:cubicBezTo>
                      <a:pt x="589153" y="203666"/>
                      <a:pt x="594828" y="203630"/>
                      <a:pt x="609600" y="190500"/>
                    </a:cubicBezTo>
                    <a:cubicBezTo>
                      <a:pt x="643788" y="160111"/>
                      <a:pt x="643639" y="157815"/>
                      <a:pt x="666750" y="127000"/>
                    </a:cubicBezTo>
                    <a:cubicBezTo>
                      <a:pt x="677610" y="94421"/>
                      <a:pt x="685696" y="92890"/>
                      <a:pt x="673100" y="63500"/>
                    </a:cubicBezTo>
                    <a:cubicBezTo>
                      <a:pt x="670094" y="56485"/>
                      <a:pt x="664633" y="50800"/>
                      <a:pt x="660400" y="44450"/>
                    </a:cubicBezTo>
                    <a:cubicBezTo>
                      <a:pt x="607277" y="49762"/>
                      <a:pt x="602252" y="33745"/>
                      <a:pt x="584200" y="69850"/>
                    </a:cubicBezTo>
                    <a:cubicBezTo>
                      <a:pt x="581207" y="75837"/>
                      <a:pt x="579967" y="82550"/>
                      <a:pt x="577850" y="88900"/>
                    </a:cubicBezTo>
                    <a:cubicBezTo>
                      <a:pt x="582083" y="114300"/>
                      <a:pt x="573653" y="145669"/>
                      <a:pt x="590550" y="165100"/>
                    </a:cubicBezTo>
                    <a:cubicBezTo>
                      <a:pt x="667468" y="253555"/>
                      <a:pt x="746913" y="238608"/>
                      <a:pt x="850900" y="247650"/>
                    </a:cubicBezTo>
                    <a:lnTo>
                      <a:pt x="889000" y="234950"/>
                    </a:lnTo>
                    <a:cubicBezTo>
                      <a:pt x="895350" y="232833"/>
                      <a:pt x="905057" y="234587"/>
                      <a:pt x="908050" y="228600"/>
                    </a:cubicBezTo>
                    <a:lnTo>
                      <a:pt x="914400" y="215900"/>
                    </a:lnTo>
                  </a:path>
                </a:pathLst>
              </a:cu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023C"/>
                  </a:solidFill>
                </a:endParaRPr>
              </a:p>
            </p:txBody>
          </p:sp>
          <p:sp>
            <p:nvSpPr>
              <p:cNvPr id="79" name="Isosceles Triangle 78">
                <a:extLst>
                  <a:ext uri="{FF2B5EF4-FFF2-40B4-BE49-F238E27FC236}">
                    <a16:creationId xmlns:a16="http://schemas.microsoft.com/office/drawing/2014/main" id="{19919840-D913-43D6-B93C-96067AF1158E}"/>
                  </a:ext>
                </a:extLst>
              </p:cNvPr>
              <p:cNvSpPr/>
              <p:nvPr/>
            </p:nvSpPr>
            <p:spPr>
              <a:xfrm rot="16200000">
                <a:off x="61933" y="4551342"/>
                <a:ext cx="123784" cy="247650"/>
              </a:xfrm>
              <a:prstGeom prst="triangle">
                <a:avLst/>
              </a:prstGeom>
              <a:solidFill>
                <a:srgbClr val="66023C"/>
              </a:solid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023C"/>
                  </a:solidFill>
                </a:endParaRPr>
              </a:p>
            </p:txBody>
          </p:sp>
        </p:grpSp>
        <p:grpSp>
          <p:nvGrpSpPr>
            <p:cNvPr id="74" name="Group 73">
              <a:extLst>
                <a:ext uri="{FF2B5EF4-FFF2-40B4-BE49-F238E27FC236}">
                  <a16:creationId xmlns:a16="http://schemas.microsoft.com/office/drawing/2014/main" id="{99E5061A-3DD7-44E4-882B-6C0484F82372}"/>
                </a:ext>
              </a:extLst>
            </p:cNvPr>
            <p:cNvGrpSpPr/>
            <p:nvPr/>
          </p:nvGrpSpPr>
          <p:grpSpPr>
            <a:xfrm>
              <a:off x="5548312" y="4424240"/>
              <a:ext cx="1054100" cy="247650"/>
              <a:chOff x="0" y="4489450"/>
              <a:chExt cx="1054100" cy="247650"/>
            </a:xfrm>
          </p:grpSpPr>
          <p:sp>
            <p:nvSpPr>
              <p:cNvPr id="76" name="Freeform: Shape 75">
                <a:extLst>
                  <a:ext uri="{FF2B5EF4-FFF2-40B4-BE49-F238E27FC236}">
                    <a16:creationId xmlns:a16="http://schemas.microsoft.com/office/drawing/2014/main" id="{2D12DA25-E00E-4486-B697-15B4D298EC22}"/>
                  </a:ext>
                </a:extLst>
              </p:cNvPr>
              <p:cNvSpPr/>
              <p:nvPr/>
            </p:nvSpPr>
            <p:spPr>
              <a:xfrm>
                <a:off x="139700" y="4489450"/>
                <a:ext cx="914400" cy="247650"/>
              </a:xfrm>
              <a:custGeom>
                <a:avLst/>
                <a:gdLst>
                  <a:gd name="connsiteX0" fmla="*/ 0 w 914400"/>
                  <a:gd name="connsiteY0" fmla="*/ 152400 h 247650"/>
                  <a:gd name="connsiteX1" fmla="*/ 69850 w 914400"/>
                  <a:gd name="connsiteY1" fmla="*/ 190500 h 247650"/>
                  <a:gd name="connsiteX2" fmla="*/ 88900 w 914400"/>
                  <a:gd name="connsiteY2" fmla="*/ 196850 h 247650"/>
                  <a:gd name="connsiteX3" fmla="*/ 165100 w 914400"/>
                  <a:gd name="connsiteY3" fmla="*/ 190500 h 247650"/>
                  <a:gd name="connsiteX4" fmla="*/ 190500 w 914400"/>
                  <a:gd name="connsiteY4" fmla="*/ 184150 h 247650"/>
                  <a:gd name="connsiteX5" fmla="*/ 247650 w 914400"/>
                  <a:gd name="connsiteY5" fmla="*/ 171450 h 247650"/>
                  <a:gd name="connsiteX6" fmla="*/ 298450 w 914400"/>
                  <a:gd name="connsiteY6" fmla="*/ 139700 h 247650"/>
                  <a:gd name="connsiteX7" fmla="*/ 381000 w 914400"/>
                  <a:gd name="connsiteY7" fmla="*/ 69850 h 247650"/>
                  <a:gd name="connsiteX8" fmla="*/ 387350 w 914400"/>
                  <a:gd name="connsiteY8" fmla="*/ 50800 h 247650"/>
                  <a:gd name="connsiteX9" fmla="*/ 368300 w 914400"/>
                  <a:gd name="connsiteY9" fmla="*/ 6350 h 247650"/>
                  <a:gd name="connsiteX10" fmla="*/ 349250 w 914400"/>
                  <a:gd name="connsiteY10" fmla="*/ 0 h 247650"/>
                  <a:gd name="connsiteX11" fmla="*/ 292100 w 914400"/>
                  <a:gd name="connsiteY11" fmla="*/ 19050 h 247650"/>
                  <a:gd name="connsiteX12" fmla="*/ 279400 w 914400"/>
                  <a:gd name="connsiteY12" fmla="*/ 38100 h 247650"/>
                  <a:gd name="connsiteX13" fmla="*/ 266700 w 914400"/>
                  <a:gd name="connsiteY13" fmla="*/ 63500 h 247650"/>
                  <a:gd name="connsiteX14" fmla="*/ 254000 w 914400"/>
                  <a:gd name="connsiteY14" fmla="*/ 101600 h 247650"/>
                  <a:gd name="connsiteX15" fmla="*/ 260350 w 914400"/>
                  <a:gd name="connsiteY15" fmla="*/ 152400 h 247650"/>
                  <a:gd name="connsiteX16" fmla="*/ 298450 w 914400"/>
                  <a:gd name="connsiteY16" fmla="*/ 203200 h 247650"/>
                  <a:gd name="connsiteX17" fmla="*/ 311150 w 914400"/>
                  <a:gd name="connsiteY17" fmla="*/ 222250 h 247650"/>
                  <a:gd name="connsiteX18" fmla="*/ 368300 w 914400"/>
                  <a:gd name="connsiteY18" fmla="*/ 247650 h 247650"/>
                  <a:gd name="connsiteX19" fmla="*/ 469900 w 914400"/>
                  <a:gd name="connsiteY19" fmla="*/ 241300 h 247650"/>
                  <a:gd name="connsiteX20" fmla="*/ 495300 w 914400"/>
                  <a:gd name="connsiteY20" fmla="*/ 234950 h 247650"/>
                  <a:gd name="connsiteX21" fmla="*/ 552450 w 914400"/>
                  <a:gd name="connsiteY21" fmla="*/ 215900 h 247650"/>
                  <a:gd name="connsiteX22" fmla="*/ 571500 w 914400"/>
                  <a:gd name="connsiteY22" fmla="*/ 209550 h 247650"/>
                  <a:gd name="connsiteX23" fmla="*/ 609600 w 914400"/>
                  <a:gd name="connsiteY23" fmla="*/ 190500 h 247650"/>
                  <a:gd name="connsiteX24" fmla="*/ 666750 w 914400"/>
                  <a:gd name="connsiteY24" fmla="*/ 127000 h 247650"/>
                  <a:gd name="connsiteX25" fmla="*/ 673100 w 914400"/>
                  <a:gd name="connsiteY25" fmla="*/ 63500 h 247650"/>
                  <a:gd name="connsiteX26" fmla="*/ 660400 w 914400"/>
                  <a:gd name="connsiteY26" fmla="*/ 44450 h 247650"/>
                  <a:gd name="connsiteX27" fmla="*/ 584200 w 914400"/>
                  <a:gd name="connsiteY27" fmla="*/ 69850 h 247650"/>
                  <a:gd name="connsiteX28" fmla="*/ 577850 w 914400"/>
                  <a:gd name="connsiteY28" fmla="*/ 88900 h 247650"/>
                  <a:gd name="connsiteX29" fmla="*/ 590550 w 914400"/>
                  <a:gd name="connsiteY29" fmla="*/ 165100 h 247650"/>
                  <a:gd name="connsiteX30" fmla="*/ 850900 w 914400"/>
                  <a:gd name="connsiteY30" fmla="*/ 247650 h 247650"/>
                  <a:gd name="connsiteX31" fmla="*/ 889000 w 914400"/>
                  <a:gd name="connsiteY31" fmla="*/ 234950 h 247650"/>
                  <a:gd name="connsiteX32" fmla="*/ 908050 w 914400"/>
                  <a:gd name="connsiteY32" fmla="*/ 228600 h 247650"/>
                  <a:gd name="connsiteX33" fmla="*/ 914400 w 914400"/>
                  <a:gd name="connsiteY33" fmla="*/ 21590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 h="247650">
                    <a:moveTo>
                      <a:pt x="0" y="152400"/>
                    </a:moveTo>
                    <a:cubicBezTo>
                      <a:pt x="42203" y="186163"/>
                      <a:pt x="18892" y="173514"/>
                      <a:pt x="69850" y="190500"/>
                    </a:cubicBezTo>
                    <a:lnTo>
                      <a:pt x="88900" y="196850"/>
                    </a:lnTo>
                    <a:cubicBezTo>
                      <a:pt x="114300" y="194733"/>
                      <a:pt x="139809" y="193661"/>
                      <a:pt x="165100" y="190500"/>
                    </a:cubicBezTo>
                    <a:cubicBezTo>
                      <a:pt x="173760" y="189418"/>
                      <a:pt x="181981" y="186043"/>
                      <a:pt x="190500" y="184150"/>
                    </a:cubicBezTo>
                    <a:cubicBezTo>
                      <a:pt x="263054" y="168027"/>
                      <a:pt x="185705" y="186936"/>
                      <a:pt x="247650" y="171450"/>
                    </a:cubicBezTo>
                    <a:cubicBezTo>
                      <a:pt x="264583" y="160867"/>
                      <a:pt x="282688" y="151960"/>
                      <a:pt x="298450" y="139700"/>
                    </a:cubicBezTo>
                    <a:cubicBezTo>
                      <a:pt x="365051" y="87899"/>
                      <a:pt x="338535" y="112315"/>
                      <a:pt x="381000" y="69850"/>
                    </a:cubicBezTo>
                    <a:cubicBezTo>
                      <a:pt x="383117" y="63500"/>
                      <a:pt x="387350" y="57493"/>
                      <a:pt x="387350" y="50800"/>
                    </a:cubicBezTo>
                    <a:cubicBezTo>
                      <a:pt x="387350" y="38598"/>
                      <a:pt x="378669" y="14646"/>
                      <a:pt x="368300" y="6350"/>
                    </a:cubicBezTo>
                    <a:cubicBezTo>
                      <a:pt x="363073" y="2169"/>
                      <a:pt x="355600" y="2117"/>
                      <a:pt x="349250" y="0"/>
                    </a:cubicBezTo>
                    <a:cubicBezTo>
                      <a:pt x="323707" y="4257"/>
                      <a:pt x="309958" y="1192"/>
                      <a:pt x="292100" y="19050"/>
                    </a:cubicBezTo>
                    <a:cubicBezTo>
                      <a:pt x="286704" y="24446"/>
                      <a:pt x="283186" y="31474"/>
                      <a:pt x="279400" y="38100"/>
                    </a:cubicBezTo>
                    <a:cubicBezTo>
                      <a:pt x="274704" y="46319"/>
                      <a:pt x="270216" y="54711"/>
                      <a:pt x="266700" y="63500"/>
                    </a:cubicBezTo>
                    <a:cubicBezTo>
                      <a:pt x="261728" y="75929"/>
                      <a:pt x="254000" y="101600"/>
                      <a:pt x="254000" y="101600"/>
                    </a:cubicBezTo>
                    <a:cubicBezTo>
                      <a:pt x="256117" y="118533"/>
                      <a:pt x="256211" y="135844"/>
                      <a:pt x="260350" y="152400"/>
                    </a:cubicBezTo>
                    <a:cubicBezTo>
                      <a:pt x="267153" y="179611"/>
                      <a:pt x="280589" y="182363"/>
                      <a:pt x="298450" y="203200"/>
                    </a:cubicBezTo>
                    <a:cubicBezTo>
                      <a:pt x="303417" y="208994"/>
                      <a:pt x="305287" y="217364"/>
                      <a:pt x="311150" y="222250"/>
                    </a:cubicBezTo>
                    <a:cubicBezTo>
                      <a:pt x="319364" y="229095"/>
                      <a:pt x="360732" y="244623"/>
                      <a:pt x="368300" y="247650"/>
                    </a:cubicBezTo>
                    <a:cubicBezTo>
                      <a:pt x="402167" y="245533"/>
                      <a:pt x="436136" y="244676"/>
                      <a:pt x="469900" y="241300"/>
                    </a:cubicBezTo>
                    <a:cubicBezTo>
                      <a:pt x="478584" y="240432"/>
                      <a:pt x="486941" y="237458"/>
                      <a:pt x="495300" y="234950"/>
                    </a:cubicBezTo>
                    <a:cubicBezTo>
                      <a:pt x="514534" y="229180"/>
                      <a:pt x="533400" y="222250"/>
                      <a:pt x="552450" y="215900"/>
                    </a:cubicBezTo>
                    <a:lnTo>
                      <a:pt x="571500" y="209550"/>
                    </a:lnTo>
                    <a:cubicBezTo>
                      <a:pt x="589153" y="203666"/>
                      <a:pt x="594828" y="203630"/>
                      <a:pt x="609600" y="190500"/>
                    </a:cubicBezTo>
                    <a:cubicBezTo>
                      <a:pt x="643788" y="160111"/>
                      <a:pt x="643639" y="157815"/>
                      <a:pt x="666750" y="127000"/>
                    </a:cubicBezTo>
                    <a:cubicBezTo>
                      <a:pt x="677610" y="94421"/>
                      <a:pt x="685696" y="92890"/>
                      <a:pt x="673100" y="63500"/>
                    </a:cubicBezTo>
                    <a:cubicBezTo>
                      <a:pt x="670094" y="56485"/>
                      <a:pt x="664633" y="50800"/>
                      <a:pt x="660400" y="44450"/>
                    </a:cubicBezTo>
                    <a:cubicBezTo>
                      <a:pt x="607277" y="49762"/>
                      <a:pt x="602252" y="33745"/>
                      <a:pt x="584200" y="69850"/>
                    </a:cubicBezTo>
                    <a:cubicBezTo>
                      <a:pt x="581207" y="75837"/>
                      <a:pt x="579967" y="82550"/>
                      <a:pt x="577850" y="88900"/>
                    </a:cubicBezTo>
                    <a:cubicBezTo>
                      <a:pt x="582083" y="114300"/>
                      <a:pt x="573653" y="145669"/>
                      <a:pt x="590550" y="165100"/>
                    </a:cubicBezTo>
                    <a:cubicBezTo>
                      <a:pt x="667468" y="253555"/>
                      <a:pt x="746913" y="238608"/>
                      <a:pt x="850900" y="247650"/>
                    </a:cubicBezTo>
                    <a:lnTo>
                      <a:pt x="889000" y="234950"/>
                    </a:lnTo>
                    <a:cubicBezTo>
                      <a:pt x="895350" y="232833"/>
                      <a:pt x="905057" y="234587"/>
                      <a:pt x="908050" y="228600"/>
                    </a:cubicBezTo>
                    <a:lnTo>
                      <a:pt x="914400" y="215900"/>
                    </a:lnTo>
                  </a:path>
                </a:pathLst>
              </a:cu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023C"/>
                  </a:solidFill>
                </a:endParaRPr>
              </a:p>
            </p:txBody>
          </p:sp>
          <p:sp>
            <p:nvSpPr>
              <p:cNvPr id="77" name="Isosceles Triangle 76">
                <a:extLst>
                  <a:ext uri="{FF2B5EF4-FFF2-40B4-BE49-F238E27FC236}">
                    <a16:creationId xmlns:a16="http://schemas.microsoft.com/office/drawing/2014/main" id="{92852FEF-3221-468F-A058-8F9EDA7664D0}"/>
                  </a:ext>
                </a:extLst>
              </p:cNvPr>
              <p:cNvSpPr/>
              <p:nvPr/>
            </p:nvSpPr>
            <p:spPr>
              <a:xfrm rot="16200000">
                <a:off x="61933" y="4551342"/>
                <a:ext cx="123784" cy="247650"/>
              </a:xfrm>
              <a:prstGeom prst="triangle">
                <a:avLst/>
              </a:prstGeom>
              <a:solidFill>
                <a:srgbClr val="66023C"/>
              </a:solid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6023C"/>
                  </a:solidFill>
                </a:endParaRPr>
              </a:p>
            </p:txBody>
          </p:sp>
        </p:grpSp>
        <p:sp>
          <p:nvSpPr>
            <p:cNvPr id="75" name="Rectangle 74">
              <a:extLst>
                <a:ext uri="{FF2B5EF4-FFF2-40B4-BE49-F238E27FC236}">
                  <a16:creationId xmlns:a16="http://schemas.microsoft.com/office/drawing/2014/main" id="{13155F27-F204-4EEB-9376-24987BEA8B6D}"/>
                </a:ext>
              </a:extLst>
            </p:cNvPr>
            <p:cNvSpPr/>
            <p:nvPr/>
          </p:nvSpPr>
          <p:spPr>
            <a:xfrm>
              <a:off x="7454795" y="4103564"/>
              <a:ext cx="1447795" cy="1339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dirty="0">
                  <a:solidFill>
                    <a:schemeClr val="tx1"/>
                  </a:solidFill>
                </a:rPr>
                <a:t>With the fan turned on, draw arrows on the fan pointing which way the air is blowing.</a:t>
              </a:r>
            </a:p>
            <a:p>
              <a:pPr marL="171450" indent="-171450">
                <a:buFont typeface="Arial" panose="020B0604020202020204" pitchFamily="34" charset="0"/>
                <a:buChar char="•"/>
              </a:pPr>
              <a:r>
                <a:rPr lang="en-US" sz="1000" dirty="0">
                  <a:solidFill>
                    <a:schemeClr val="tx1"/>
                  </a:solidFill>
                </a:rPr>
                <a:t>Turn off the fan.</a:t>
              </a:r>
            </a:p>
            <a:p>
              <a:pPr marL="171450" indent="-171450">
                <a:buFont typeface="Arial" panose="020B0604020202020204" pitchFamily="34" charset="0"/>
                <a:buChar char="•"/>
              </a:pPr>
              <a:endParaRPr lang="en-US" sz="1000" dirty="0">
                <a:solidFill>
                  <a:schemeClr val="tx1"/>
                </a:solidFill>
              </a:endParaRPr>
            </a:p>
          </p:txBody>
        </p:sp>
      </p:grpSp>
      <p:grpSp>
        <p:nvGrpSpPr>
          <p:cNvPr id="112" name="Group 111">
            <a:extLst>
              <a:ext uri="{FF2B5EF4-FFF2-40B4-BE49-F238E27FC236}">
                <a16:creationId xmlns:a16="http://schemas.microsoft.com/office/drawing/2014/main" id="{DE760998-50F0-4952-B331-CE613CD03AEF}"/>
              </a:ext>
            </a:extLst>
          </p:cNvPr>
          <p:cNvGrpSpPr/>
          <p:nvPr/>
        </p:nvGrpSpPr>
        <p:grpSpPr>
          <a:xfrm>
            <a:off x="4307712" y="1398084"/>
            <a:ext cx="6655230" cy="2050158"/>
            <a:chOff x="4307712" y="1398084"/>
            <a:chExt cx="6655230" cy="2050158"/>
          </a:xfrm>
        </p:grpSpPr>
        <p:sp>
          <p:nvSpPr>
            <p:cNvPr id="41" name="TextBox 40">
              <a:extLst>
                <a:ext uri="{FF2B5EF4-FFF2-40B4-BE49-F238E27FC236}">
                  <a16:creationId xmlns:a16="http://schemas.microsoft.com/office/drawing/2014/main" id="{703E14C1-155A-45AB-9244-1CAE72D00C86}"/>
                </a:ext>
              </a:extLst>
            </p:cNvPr>
            <p:cNvSpPr txBox="1"/>
            <p:nvPr/>
          </p:nvSpPr>
          <p:spPr>
            <a:xfrm>
              <a:off x="4307712" y="1398084"/>
              <a:ext cx="265876" cy="307777"/>
            </a:xfrm>
            <a:prstGeom prst="rect">
              <a:avLst/>
            </a:prstGeom>
            <a:noFill/>
          </p:spPr>
          <p:txBody>
            <a:bodyPr wrap="square" rtlCol="0">
              <a:spAutoFit/>
            </a:bodyPr>
            <a:lstStyle/>
            <a:p>
              <a:pPr algn="l">
                <a:spcBef>
                  <a:spcPts val="400"/>
                </a:spcBef>
                <a:spcAft>
                  <a:spcPts val="400"/>
                </a:spcAft>
              </a:pPr>
              <a:r>
                <a:rPr lang="en-US" sz="1400" b="1" dirty="0">
                  <a:latin typeface="Arial" panose="020B0604020202020204" pitchFamily="34" charset="0"/>
                  <a:cs typeface="Arial" panose="020B0604020202020204" pitchFamily="34" charset="0"/>
                </a:rPr>
                <a:t>3</a:t>
              </a:r>
            </a:p>
          </p:txBody>
        </p:sp>
        <p:grpSp>
          <p:nvGrpSpPr>
            <p:cNvPr id="99" name="Group 98">
              <a:extLst>
                <a:ext uri="{FF2B5EF4-FFF2-40B4-BE49-F238E27FC236}">
                  <a16:creationId xmlns:a16="http://schemas.microsoft.com/office/drawing/2014/main" id="{786066F1-8558-4860-9BDF-3D90618DCAE9}"/>
                </a:ext>
              </a:extLst>
            </p:cNvPr>
            <p:cNvGrpSpPr/>
            <p:nvPr/>
          </p:nvGrpSpPr>
          <p:grpSpPr>
            <a:xfrm>
              <a:off x="4573588" y="1673931"/>
              <a:ext cx="6389354" cy="1774311"/>
              <a:chOff x="4573588" y="1673931"/>
              <a:chExt cx="6389354" cy="1774311"/>
            </a:xfrm>
          </p:grpSpPr>
          <p:grpSp>
            <p:nvGrpSpPr>
              <p:cNvPr id="43" name="Group 42">
                <a:extLst>
                  <a:ext uri="{FF2B5EF4-FFF2-40B4-BE49-F238E27FC236}">
                    <a16:creationId xmlns:a16="http://schemas.microsoft.com/office/drawing/2014/main" id="{2171CF67-B795-4EBE-9FCC-D2E50EE7B545}"/>
                  </a:ext>
                </a:extLst>
              </p:cNvPr>
              <p:cNvGrpSpPr/>
              <p:nvPr/>
            </p:nvGrpSpPr>
            <p:grpSpPr>
              <a:xfrm>
                <a:off x="4573588" y="1673931"/>
                <a:ext cx="1868361" cy="1774311"/>
                <a:chOff x="4573588" y="1718549"/>
                <a:chExt cx="2258532" cy="2067639"/>
              </a:xfrm>
            </p:grpSpPr>
            <p:pic>
              <p:nvPicPr>
                <p:cNvPr id="40" name="Picture 39" descr="A picture containing text, drawing&#10;&#10;Description automatically generated">
                  <a:extLst>
                    <a:ext uri="{FF2B5EF4-FFF2-40B4-BE49-F238E27FC236}">
                      <a16:creationId xmlns:a16="http://schemas.microsoft.com/office/drawing/2014/main" id="{6FF3B049-6C6A-4240-9FF0-39E8F5171004}"/>
                    </a:ext>
                  </a:extLst>
                </p:cNvPr>
                <p:cNvPicPr>
                  <a:picLocks noChangeAspect="1"/>
                </p:cNvPicPr>
                <p:nvPr/>
              </p:nvPicPr>
              <p:blipFill rotWithShape="1">
                <a:blip r:embed="rId7">
                  <a:extLst>
                    <a:ext uri="{28A0092B-C50C-407E-A947-70E740481C1C}">
                      <a14:useLocalDpi xmlns:a14="http://schemas.microsoft.com/office/drawing/2010/main" val="0"/>
                    </a:ext>
                  </a:extLst>
                </a:blip>
                <a:srcRect l="21962" t="21508" r="2416" b="9261"/>
                <a:stretch/>
              </p:blipFill>
              <p:spPr>
                <a:xfrm>
                  <a:off x="4573588" y="1718549"/>
                  <a:ext cx="2258532" cy="2067639"/>
                </a:xfrm>
                <a:prstGeom prst="rect">
                  <a:avLst/>
                </a:prstGeom>
              </p:spPr>
            </p:pic>
            <p:sp>
              <p:nvSpPr>
                <p:cNvPr id="38" name="Arrow: Down 37">
                  <a:extLst>
                    <a:ext uri="{FF2B5EF4-FFF2-40B4-BE49-F238E27FC236}">
                      <a16:creationId xmlns:a16="http://schemas.microsoft.com/office/drawing/2014/main" id="{DF85BE91-4389-4327-BF0C-34261A07BA23}"/>
                    </a:ext>
                  </a:extLst>
                </p:cNvPr>
                <p:cNvSpPr/>
                <p:nvPr/>
              </p:nvSpPr>
              <p:spPr>
                <a:xfrm rot="5400000">
                  <a:off x="6014123" y="2690845"/>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Arrow: Down 43">
                  <a:extLst>
                    <a:ext uri="{FF2B5EF4-FFF2-40B4-BE49-F238E27FC236}">
                      <a16:creationId xmlns:a16="http://schemas.microsoft.com/office/drawing/2014/main" id="{1155CB57-866A-495F-BA6F-4E774EA5788D}"/>
                    </a:ext>
                  </a:extLst>
                </p:cNvPr>
                <p:cNvSpPr/>
                <p:nvPr/>
              </p:nvSpPr>
              <p:spPr>
                <a:xfrm rot="5400000">
                  <a:off x="6015037" y="2889861"/>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Arrow: Down 44">
                  <a:extLst>
                    <a:ext uri="{FF2B5EF4-FFF2-40B4-BE49-F238E27FC236}">
                      <a16:creationId xmlns:a16="http://schemas.microsoft.com/office/drawing/2014/main" id="{48037BF6-2363-4A08-AB9A-807922DEC77F}"/>
                    </a:ext>
                  </a:extLst>
                </p:cNvPr>
                <p:cNvSpPr/>
                <p:nvPr/>
              </p:nvSpPr>
              <p:spPr>
                <a:xfrm rot="5400000">
                  <a:off x="6015037" y="3088878"/>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Arrow: Down 45">
                  <a:extLst>
                    <a:ext uri="{FF2B5EF4-FFF2-40B4-BE49-F238E27FC236}">
                      <a16:creationId xmlns:a16="http://schemas.microsoft.com/office/drawing/2014/main" id="{A3B25BF4-95FD-467E-B466-8E8828CCD5FA}"/>
                    </a:ext>
                  </a:extLst>
                </p:cNvPr>
                <p:cNvSpPr/>
                <p:nvPr/>
              </p:nvSpPr>
              <p:spPr>
                <a:xfrm rot="5400000">
                  <a:off x="6014123" y="2491828"/>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Arrow: Down 46">
                  <a:extLst>
                    <a:ext uri="{FF2B5EF4-FFF2-40B4-BE49-F238E27FC236}">
                      <a16:creationId xmlns:a16="http://schemas.microsoft.com/office/drawing/2014/main" id="{306B62CC-B617-4F69-ADBB-F617E56447DA}"/>
                    </a:ext>
                  </a:extLst>
                </p:cNvPr>
                <p:cNvSpPr/>
                <p:nvPr/>
              </p:nvSpPr>
              <p:spPr>
                <a:xfrm rot="5400000">
                  <a:off x="6014122" y="2292811"/>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Rectangle 82">
                <a:extLst>
                  <a:ext uri="{FF2B5EF4-FFF2-40B4-BE49-F238E27FC236}">
                    <a16:creationId xmlns:a16="http://schemas.microsoft.com/office/drawing/2014/main" id="{C35719C1-4159-47D9-9968-04B9E02B6262}"/>
                  </a:ext>
                </a:extLst>
              </p:cNvPr>
              <p:cNvSpPr/>
              <p:nvPr/>
            </p:nvSpPr>
            <p:spPr>
              <a:xfrm>
                <a:off x="8593062" y="2025359"/>
                <a:ext cx="2369880" cy="870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dirty="0">
                    <a:solidFill>
                      <a:schemeClr val="tx1"/>
                    </a:solidFill>
                  </a:rPr>
                  <a:t>The fan will have arrows pointing which way it wants the air to flow.</a:t>
                </a:r>
              </a:p>
              <a:p>
                <a:pPr marL="171450" indent="-171450">
                  <a:buFont typeface="Arial" panose="020B0604020202020204" pitchFamily="34" charset="0"/>
                  <a:buChar char="•"/>
                </a:pPr>
                <a:r>
                  <a:rPr lang="en-US" sz="1000" dirty="0">
                    <a:solidFill>
                      <a:schemeClr val="tx1"/>
                    </a:solidFill>
                  </a:rPr>
                  <a:t>Place the filter behind the fan so that the </a:t>
                </a:r>
                <a:r>
                  <a:rPr lang="en-US" sz="1000" b="1" dirty="0">
                    <a:solidFill>
                      <a:schemeClr val="tx1"/>
                    </a:solidFill>
                  </a:rPr>
                  <a:t>FRONT </a:t>
                </a:r>
                <a:r>
                  <a:rPr lang="en-US" sz="1000" dirty="0">
                    <a:solidFill>
                      <a:schemeClr val="tx1"/>
                    </a:solidFill>
                  </a:rPr>
                  <a:t>of the filter’s arrows align with the </a:t>
                </a:r>
                <a:r>
                  <a:rPr lang="en-US" sz="1000" b="1" dirty="0">
                    <a:solidFill>
                      <a:schemeClr val="tx1"/>
                    </a:solidFill>
                  </a:rPr>
                  <a:t>BACK</a:t>
                </a:r>
                <a:r>
                  <a:rPr lang="en-US" sz="1000" dirty="0">
                    <a:solidFill>
                      <a:schemeClr val="tx1"/>
                    </a:solidFill>
                  </a:rPr>
                  <a:t> of the fan’s arrows.</a:t>
                </a:r>
              </a:p>
              <a:p>
                <a:pPr marL="171450" indent="-171450">
                  <a:buFont typeface="Arial" panose="020B0604020202020204" pitchFamily="34" charset="0"/>
                  <a:buChar char="•"/>
                </a:pPr>
                <a:endParaRPr lang="en-US" sz="1000" dirty="0">
                  <a:solidFill>
                    <a:schemeClr val="tx1"/>
                  </a:solidFill>
                </a:endParaRPr>
              </a:p>
            </p:txBody>
          </p:sp>
          <p:grpSp>
            <p:nvGrpSpPr>
              <p:cNvPr id="92" name="Group 91">
                <a:extLst>
                  <a:ext uri="{FF2B5EF4-FFF2-40B4-BE49-F238E27FC236}">
                    <a16:creationId xmlns:a16="http://schemas.microsoft.com/office/drawing/2014/main" id="{1E5BB2AE-348E-4604-876F-1EEADAF20173}"/>
                  </a:ext>
                </a:extLst>
              </p:cNvPr>
              <p:cNvGrpSpPr/>
              <p:nvPr/>
            </p:nvGrpSpPr>
            <p:grpSpPr>
              <a:xfrm>
                <a:off x="6672583" y="1682340"/>
                <a:ext cx="1447795" cy="1757370"/>
                <a:chOff x="6791901" y="2984622"/>
                <a:chExt cx="1760752" cy="2137245"/>
              </a:xfrm>
            </p:grpSpPr>
            <p:grpSp>
              <p:nvGrpSpPr>
                <p:cNvPr id="84" name="Group 83">
                  <a:extLst>
                    <a:ext uri="{FF2B5EF4-FFF2-40B4-BE49-F238E27FC236}">
                      <a16:creationId xmlns:a16="http://schemas.microsoft.com/office/drawing/2014/main" id="{5C18DC4A-FF6B-4ABB-95E7-A7D6B642C23F}"/>
                    </a:ext>
                  </a:extLst>
                </p:cNvPr>
                <p:cNvGrpSpPr/>
                <p:nvPr/>
              </p:nvGrpSpPr>
              <p:grpSpPr>
                <a:xfrm>
                  <a:off x="6791901" y="2984622"/>
                  <a:ext cx="1760752" cy="2137245"/>
                  <a:chOff x="6868432" y="2907058"/>
                  <a:chExt cx="1760752" cy="2137245"/>
                </a:xfrm>
              </p:grpSpPr>
              <p:pic>
                <p:nvPicPr>
                  <p:cNvPr id="85" name="Picture 84" descr="A picture containing drawing, game&#10;&#10;Description automatically generated">
                    <a:extLst>
                      <a:ext uri="{FF2B5EF4-FFF2-40B4-BE49-F238E27FC236}">
                        <a16:creationId xmlns:a16="http://schemas.microsoft.com/office/drawing/2014/main" id="{86927931-9F4D-4AD7-83C8-F4BE5DCA0DB4}"/>
                      </a:ext>
                    </a:extLst>
                  </p:cNvPr>
                  <p:cNvPicPr>
                    <a:picLocks noChangeAspect="1"/>
                  </p:cNvPicPr>
                  <p:nvPr/>
                </p:nvPicPr>
                <p:blipFill rotWithShape="1">
                  <a:blip r:embed="rId8">
                    <a:extLst>
                      <a:ext uri="{28A0092B-C50C-407E-A947-70E740481C1C}">
                        <a14:useLocalDpi xmlns:a14="http://schemas.microsoft.com/office/drawing/2010/main" val="0"/>
                      </a:ext>
                    </a:extLst>
                  </a:blip>
                  <a:srcRect l="19378" r="18998"/>
                  <a:stretch/>
                </p:blipFill>
                <p:spPr>
                  <a:xfrm>
                    <a:off x="6868432" y="2907058"/>
                    <a:ext cx="1760752" cy="2137245"/>
                  </a:xfrm>
                  <a:prstGeom prst="rect">
                    <a:avLst/>
                  </a:prstGeom>
                </p:spPr>
              </p:pic>
              <p:sp>
                <p:nvSpPr>
                  <p:cNvPr id="86" name="Rectangle 85">
                    <a:extLst>
                      <a:ext uri="{FF2B5EF4-FFF2-40B4-BE49-F238E27FC236}">
                        <a16:creationId xmlns:a16="http://schemas.microsoft.com/office/drawing/2014/main" id="{75206712-EFD2-41AB-81E5-BC87BAAAA228}"/>
                      </a:ext>
                    </a:extLst>
                  </p:cNvPr>
                  <p:cNvSpPr/>
                  <p:nvPr/>
                </p:nvSpPr>
                <p:spPr>
                  <a:xfrm>
                    <a:off x="8118313" y="3184217"/>
                    <a:ext cx="391278" cy="2509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pSp>
            <p:sp>
              <p:nvSpPr>
                <p:cNvPr id="82" name="Arrow: Down 81">
                  <a:extLst>
                    <a:ext uri="{FF2B5EF4-FFF2-40B4-BE49-F238E27FC236}">
                      <a16:creationId xmlns:a16="http://schemas.microsoft.com/office/drawing/2014/main" id="{E607B2EC-CC7A-46C8-A252-52BED9996B72}"/>
                    </a:ext>
                  </a:extLst>
                </p:cNvPr>
                <p:cNvSpPr/>
                <p:nvPr/>
              </p:nvSpPr>
              <p:spPr>
                <a:xfrm rot="2177232">
                  <a:off x="7085011" y="3238406"/>
                  <a:ext cx="148937" cy="172186"/>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Arrow: Down 87">
                  <a:extLst>
                    <a:ext uri="{FF2B5EF4-FFF2-40B4-BE49-F238E27FC236}">
                      <a16:creationId xmlns:a16="http://schemas.microsoft.com/office/drawing/2014/main" id="{DE423ABA-CCA2-46B2-9323-59FF57F01213}"/>
                    </a:ext>
                  </a:extLst>
                </p:cNvPr>
                <p:cNvSpPr/>
                <p:nvPr/>
              </p:nvSpPr>
              <p:spPr>
                <a:xfrm rot="2010432">
                  <a:off x="7268371" y="3335992"/>
                  <a:ext cx="148937" cy="172186"/>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Arrow: Down 88">
                  <a:extLst>
                    <a:ext uri="{FF2B5EF4-FFF2-40B4-BE49-F238E27FC236}">
                      <a16:creationId xmlns:a16="http://schemas.microsoft.com/office/drawing/2014/main" id="{F78C6983-75FC-4534-9B6A-708BF0703DFF}"/>
                    </a:ext>
                  </a:extLst>
                </p:cNvPr>
                <p:cNvSpPr/>
                <p:nvPr/>
              </p:nvSpPr>
              <p:spPr>
                <a:xfrm rot="1914141">
                  <a:off x="7448479" y="3441437"/>
                  <a:ext cx="148937" cy="172186"/>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Arrow: Down 89">
                  <a:extLst>
                    <a:ext uri="{FF2B5EF4-FFF2-40B4-BE49-F238E27FC236}">
                      <a16:creationId xmlns:a16="http://schemas.microsoft.com/office/drawing/2014/main" id="{5F75EF44-4D8B-4934-8E92-F4351A2E5B4A}"/>
                    </a:ext>
                  </a:extLst>
                </p:cNvPr>
                <p:cNvSpPr/>
                <p:nvPr/>
              </p:nvSpPr>
              <p:spPr>
                <a:xfrm rot="1986649">
                  <a:off x="7618109" y="3540424"/>
                  <a:ext cx="148937" cy="172186"/>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Arrow: Down 90">
                  <a:extLst>
                    <a:ext uri="{FF2B5EF4-FFF2-40B4-BE49-F238E27FC236}">
                      <a16:creationId xmlns:a16="http://schemas.microsoft.com/office/drawing/2014/main" id="{33B20686-6886-407F-9275-372F47122AE1}"/>
                    </a:ext>
                  </a:extLst>
                </p:cNvPr>
                <p:cNvSpPr/>
                <p:nvPr/>
              </p:nvSpPr>
              <p:spPr>
                <a:xfrm rot="2117610">
                  <a:off x="7802529" y="3645269"/>
                  <a:ext cx="148937" cy="172186"/>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Arrow: Down 92">
                  <a:extLst>
                    <a:ext uri="{FF2B5EF4-FFF2-40B4-BE49-F238E27FC236}">
                      <a16:creationId xmlns:a16="http://schemas.microsoft.com/office/drawing/2014/main" id="{369B071C-FAD1-4276-B322-029C72424172}"/>
                    </a:ext>
                  </a:extLst>
                </p:cNvPr>
                <p:cNvSpPr/>
                <p:nvPr/>
              </p:nvSpPr>
              <p:spPr>
                <a:xfrm rot="4879944">
                  <a:off x="8004474" y="3955455"/>
                  <a:ext cx="153779" cy="145557"/>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Arrow: Down 93">
                  <a:extLst>
                    <a:ext uri="{FF2B5EF4-FFF2-40B4-BE49-F238E27FC236}">
                      <a16:creationId xmlns:a16="http://schemas.microsoft.com/office/drawing/2014/main" id="{56747B6D-52B0-4B65-8204-BF93198E3D11}"/>
                    </a:ext>
                  </a:extLst>
                </p:cNvPr>
                <p:cNvSpPr/>
                <p:nvPr/>
              </p:nvSpPr>
              <p:spPr>
                <a:xfrm rot="4879944">
                  <a:off x="8030666" y="4129414"/>
                  <a:ext cx="153779" cy="145557"/>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Arrow: Down 94">
                  <a:extLst>
                    <a:ext uri="{FF2B5EF4-FFF2-40B4-BE49-F238E27FC236}">
                      <a16:creationId xmlns:a16="http://schemas.microsoft.com/office/drawing/2014/main" id="{70C59BD2-A68E-4EFC-A4EE-490CE68BC616}"/>
                    </a:ext>
                  </a:extLst>
                </p:cNvPr>
                <p:cNvSpPr/>
                <p:nvPr/>
              </p:nvSpPr>
              <p:spPr>
                <a:xfrm rot="4879944">
                  <a:off x="8056859" y="4301141"/>
                  <a:ext cx="153779" cy="145557"/>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Arrow: Down 95">
                  <a:extLst>
                    <a:ext uri="{FF2B5EF4-FFF2-40B4-BE49-F238E27FC236}">
                      <a16:creationId xmlns:a16="http://schemas.microsoft.com/office/drawing/2014/main" id="{034DBD4B-32CE-42AA-BA2A-C7B9DED1E2EA}"/>
                    </a:ext>
                  </a:extLst>
                </p:cNvPr>
                <p:cNvSpPr/>
                <p:nvPr/>
              </p:nvSpPr>
              <p:spPr>
                <a:xfrm rot="4879944">
                  <a:off x="8080962" y="4458782"/>
                  <a:ext cx="153779" cy="145557"/>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Arrow: Down 96">
                  <a:extLst>
                    <a:ext uri="{FF2B5EF4-FFF2-40B4-BE49-F238E27FC236}">
                      <a16:creationId xmlns:a16="http://schemas.microsoft.com/office/drawing/2014/main" id="{3DF44346-97C5-44BB-98E8-60E5967F3C09}"/>
                    </a:ext>
                  </a:extLst>
                </p:cNvPr>
                <p:cNvSpPr/>
                <p:nvPr/>
              </p:nvSpPr>
              <p:spPr>
                <a:xfrm rot="4879944">
                  <a:off x="8099335" y="4619251"/>
                  <a:ext cx="153779" cy="145557"/>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8" name="Arrow: Right 97">
                <a:extLst>
                  <a:ext uri="{FF2B5EF4-FFF2-40B4-BE49-F238E27FC236}">
                    <a16:creationId xmlns:a16="http://schemas.microsoft.com/office/drawing/2014/main" id="{1AE35D51-A2D4-497D-9A8D-E08893B4170B}"/>
                  </a:ext>
                </a:extLst>
              </p:cNvPr>
              <p:cNvSpPr/>
              <p:nvPr/>
            </p:nvSpPr>
            <p:spPr>
              <a:xfrm rot="10800000">
                <a:off x="5974336" y="2507269"/>
                <a:ext cx="773999" cy="151760"/>
              </a:xfrm>
              <a:prstGeom prst="rightArrow">
                <a:avLst/>
              </a:prstGeom>
              <a:solidFill>
                <a:srgbClr val="B11C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92" name="Group 191">
            <a:extLst>
              <a:ext uri="{FF2B5EF4-FFF2-40B4-BE49-F238E27FC236}">
                <a16:creationId xmlns:a16="http://schemas.microsoft.com/office/drawing/2014/main" id="{8745CD9D-747F-491B-912A-88FA7F97C154}"/>
              </a:ext>
            </a:extLst>
          </p:cNvPr>
          <p:cNvGrpSpPr/>
          <p:nvPr/>
        </p:nvGrpSpPr>
        <p:grpSpPr>
          <a:xfrm>
            <a:off x="4302315" y="3506092"/>
            <a:ext cx="6655230" cy="2050158"/>
            <a:chOff x="4302315" y="3506092"/>
            <a:chExt cx="6655230" cy="2050158"/>
          </a:xfrm>
        </p:grpSpPr>
        <p:sp>
          <p:nvSpPr>
            <p:cNvPr id="139" name="TextBox 138">
              <a:extLst>
                <a:ext uri="{FF2B5EF4-FFF2-40B4-BE49-F238E27FC236}">
                  <a16:creationId xmlns:a16="http://schemas.microsoft.com/office/drawing/2014/main" id="{645B4EF9-FDA0-4659-BE02-0037694ECFE1}"/>
                </a:ext>
              </a:extLst>
            </p:cNvPr>
            <p:cNvSpPr txBox="1"/>
            <p:nvPr/>
          </p:nvSpPr>
          <p:spPr>
            <a:xfrm>
              <a:off x="4302315" y="3506092"/>
              <a:ext cx="265876" cy="307777"/>
            </a:xfrm>
            <a:prstGeom prst="rect">
              <a:avLst/>
            </a:prstGeom>
            <a:noFill/>
          </p:spPr>
          <p:txBody>
            <a:bodyPr wrap="square" rtlCol="0">
              <a:spAutoFit/>
            </a:bodyPr>
            <a:lstStyle/>
            <a:p>
              <a:pPr algn="l">
                <a:spcBef>
                  <a:spcPts val="400"/>
                </a:spcBef>
                <a:spcAft>
                  <a:spcPts val="400"/>
                </a:spcAft>
              </a:pPr>
              <a:r>
                <a:rPr lang="en-US" sz="1400" b="1" dirty="0">
                  <a:latin typeface="Arial" panose="020B0604020202020204" pitchFamily="34" charset="0"/>
                  <a:cs typeface="Arial" panose="020B0604020202020204" pitchFamily="34" charset="0"/>
                </a:rPr>
                <a:t>4</a:t>
              </a:r>
            </a:p>
          </p:txBody>
        </p:sp>
        <p:grpSp>
          <p:nvGrpSpPr>
            <p:cNvPr id="141" name="Group 140">
              <a:extLst>
                <a:ext uri="{FF2B5EF4-FFF2-40B4-BE49-F238E27FC236}">
                  <a16:creationId xmlns:a16="http://schemas.microsoft.com/office/drawing/2014/main" id="{941FE350-3FF6-4355-9632-5A39B4535B1F}"/>
                </a:ext>
              </a:extLst>
            </p:cNvPr>
            <p:cNvGrpSpPr/>
            <p:nvPr/>
          </p:nvGrpSpPr>
          <p:grpSpPr>
            <a:xfrm>
              <a:off x="4568191" y="3781939"/>
              <a:ext cx="1868361" cy="1774311"/>
              <a:chOff x="4573588" y="1718549"/>
              <a:chExt cx="2258532" cy="2067639"/>
            </a:xfrm>
          </p:grpSpPr>
          <p:pic>
            <p:nvPicPr>
              <p:cNvPr id="158" name="Picture 157" descr="A picture containing text, drawing&#10;&#10;Description automatically generated">
                <a:extLst>
                  <a:ext uri="{FF2B5EF4-FFF2-40B4-BE49-F238E27FC236}">
                    <a16:creationId xmlns:a16="http://schemas.microsoft.com/office/drawing/2014/main" id="{E7F2F815-9829-44DE-B7BC-C3F0EBBB6103}"/>
                  </a:ext>
                </a:extLst>
              </p:cNvPr>
              <p:cNvPicPr>
                <a:picLocks noChangeAspect="1"/>
              </p:cNvPicPr>
              <p:nvPr/>
            </p:nvPicPr>
            <p:blipFill rotWithShape="1">
              <a:blip r:embed="rId7">
                <a:extLst>
                  <a:ext uri="{28A0092B-C50C-407E-A947-70E740481C1C}">
                    <a14:useLocalDpi xmlns:a14="http://schemas.microsoft.com/office/drawing/2010/main" val="0"/>
                  </a:ext>
                </a:extLst>
              </a:blip>
              <a:srcRect l="21962" t="21508" r="2416" b="9261"/>
              <a:stretch/>
            </p:blipFill>
            <p:spPr>
              <a:xfrm>
                <a:off x="4573588" y="1718549"/>
                <a:ext cx="2258532" cy="2067639"/>
              </a:xfrm>
              <a:prstGeom prst="rect">
                <a:avLst/>
              </a:prstGeom>
            </p:spPr>
          </p:pic>
          <p:sp>
            <p:nvSpPr>
              <p:cNvPr id="159" name="Arrow: Down 158">
                <a:extLst>
                  <a:ext uri="{FF2B5EF4-FFF2-40B4-BE49-F238E27FC236}">
                    <a16:creationId xmlns:a16="http://schemas.microsoft.com/office/drawing/2014/main" id="{B990033C-EE1D-4B01-9AE4-8B7383D28F31}"/>
                  </a:ext>
                </a:extLst>
              </p:cNvPr>
              <p:cNvSpPr/>
              <p:nvPr/>
            </p:nvSpPr>
            <p:spPr>
              <a:xfrm rot="5400000">
                <a:off x="6014123" y="2690845"/>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Arrow: Down 159">
                <a:extLst>
                  <a:ext uri="{FF2B5EF4-FFF2-40B4-BE49-F238E27FC236}">
                    <a16:creationId xmlns:a16="http://schemas.microsoft.com/office/drawing/2014/main" id="{0A8D0441-F06E-4A70-97C9-772617BD3679}"/>
                  </a:ext>
                </a:extLst>
              </p:cNvPr>
              <p:cNvSpPr/>
              <p:nvPr/>
            </p:nvSpPr>
            <p:spPr>
              <a:xfrm rot="5400000">
                <a:off x="6015037" y="2889860"/>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Arrow: Down 160">
                <a:extLst>
                  <a:ext uri="{FF2B5EF4-FFF2-40B4-BE49-F238E27FC236}">
                    <a16:creationId xmlns:a16="http://schemas.microsoft.com/office/drawing/2014/main" id="{5E20E6CE-A5A8-4D2F-8877-12DD12E8E934}"/>
                  </a:ext>
                </a:extLst>
              </p:cNvPr>
              <p:cNvSpPr/>
              <p:nvPr/>
            </p:nvSpPr>
            <p:spPr>
              <a:xfrm rot="5400000">
                <a:off x="6015037" y="3088878"/>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Arrow: Down 161">
                <a:extLst>
                  <a:ext uri="{FF2B5EF4-FFF2-40B4-BE49-F238E27FC236}">
                    <a16:creationId xmlns:a16="http://schemas.microsoft.com/office/drawing/2014/main" id="{21A825A8-A149-4AC8-A8CD-1321574F61CE}"/>
                  </a:ext>
                </a:extLst>
              </p:cNvPr>
              <p:cNvSpPr/>
              <p:nvPr/>
            </p:nvSpPr>
            <p:spPr>
              <a:xfrm rot="5400000">
                <a:off x="6014123" y="2491828"/>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Arrow: Down 162">
                <a:extLst>
                  <a:ext uri="{FF2B5EF4-FFF2-40B4-BE49-F238E27FC236}">
                    <a16:creationId xmlns:a16="http://schemas.microsoft.com/office/drawing/2014/main" id="{F6DF81E3-86B8-44D7-A2B6-910AB5E2BE0E}"/>
                  </a:ext>
                </a:extLst>
              </p:cNvPr>
              <p:cNvSpPr/>
              <p:nvPr/>
            </p:nvSpPr>
            <p:spPr>
              <a:xfrm rot="5400000">
                <a:off x="6014122" y="2292811"/>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2" name="Rectangle 141">
              <a:extLst>
                <a:ext uri="{FF2B5EF4-FFF2-40B4-BE49-F238E27FC236}">
                  <a16:creationId xmlns:a16="http://schemas.microsoft.com/office/drawing/2014/main" id="{8DB10DE2-F357-48D7-9EBB-1F965866D783}"/>
                </a:ext>
              </a:extLst>
            </p:cNvPr>
            <p:cNvSpPr/>
            <p:nvPr/>
          </p:nvSpPr>
          <p:spPr>
            <a:xfrm>
              <a:off x="8587665" y="4133366"/>
              <a:ext cx="2369880" cy="1200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dirty="0">
                  <a:solidFill>
                    <a:schemeClr val="tx1"/>
                  </a:solidFill>
                </a:rPr>
                <a:t>Use the tape to attach the filter to the fan.</a:t>
              </a:r>
            </a:p>
            <a:p>
              <a:pPr marL="171450" indent="-171450">
                <a:buFont typeface="Arial" panose="020B0604020202020204" pitchFamily="34" charset="0"/>
                <a:buChar char="•"/>
              </a:pPr>
              <a:r>
                <a:rPr lang="en-US" sz="1000" dirty="0">
                  <a:solidFill>
                    <a:schemeClr val="tx1"/>
                  </a:solidFill>
                </a:rPr>
                <a:t>The filter may be bigger than the fan and that’s okay. You do not necessarily need to cut the fan, but you do need to make sure the filter is firmly attached to the fan</a:t>
              </a:r>
            </a:p>
            <a:p>
              <a:pPr marL="171450" indent="-171450">
                <a:buFont typeface="Arial" panose="020B0604020202020204" pitchFamily="34" charset="0"/>
                <a:buChar char="•"/>
              </a:pPr>
              <a:endParaRPr lang="en-US" sz="1000" dirty="0">
                <a:solidFill>
                  <a:schemeClr val="tx1"/>
                </a:solidFill>
              </a:endParaRPr>
            </a:p>
          </p:txBody>
        </p:sp>
        <p:sp>
          <p:nvSpPr>
            <p:cNvPr id="166" name="Freeform: Shape 165">
              <a:extLst>
                <a:ext uri="{FF2B5EF4-FFF2-40B4-BE49-F238E27FC236}">
                  <a16:creationId xmlns:a16="http://schemas.microsoft.com/office/drawing/2014/main" id="{092D6D0C-F317-4D4C-A20E-E1C2AFDCCEE1}"/>
                </a:ext>
              </a:extLst>
            </p:cNvPr>
            <p:cNvSpPr/>
            <p:nvPr/>
          </p:nvSpPr>
          <p:spPr>
            <a:xfrm>
              <a:off x="5795963" y="4012406"/>
              <a:ext cx="271462" cy="1321728"/>
            </a:xfrm>
            <a:custGeom>
              <a:avLst/>
              <a:gdLst>
                <a:gd name="connsiteX0" fmla="*/ 14287 w 271462"/>
                <a:gd name="connsiteY0" fmla="*/ 0 h 1321728"/>
                <a:gd name="connsiteX1" fmla="*/ 40481 w 271462"/>
                <a:gd name="connsiteY1" fmla="*/ 4763 h 1321728"/>
                <a:gd name="connsiteX2" fmla="*/ 59531 w 271462"/>
                <a:gd name="connsiteY2" fmla="*/ 9525 h 1321728"/>
                <a:gd name="connsiteX3" fmla="*/ 90487 w 271462"/>
                <a:gd name="connsiteY3" fmla="*/ 23813 h 1321728"/>
                <a:gd name="connsiteX4" fmla="*/ 107156 w 271462"/>
                <a:gd name="connsiteY4" fmla="*/ 28575 h 1321728"/>
                <a:gd name="connsiteX5" fmla="*/ 121443 w 271462"/>
                <a:gd name="connsiteY5" fmla="*/ 33338 h 1321728"/>
                <a:gd name="connsiteX6" fmla="*/ 140493 w 271462"/>
                <a:gd name="connsiteY6" fmla="*/ 38100 h 1321728"/>
                <a:gd name="connsiteX7" fmla="*/ 157162 w 271462"/>
                <a:gd name="connsiteY7" fmla="*/ 42863 h 1321728"/>
                <a:gd name="connsiteX8" fmla="*/ 176212 w 271462"/>
                <a:gd name="connsiteY8" fmla="*/ 45244 h 1321728"/>
                <a:gd name="connsiteX9" fmla="*/ 192881 w 271462"/>
                <a:gd name="connsiteY9" fmla="*/ 50007 h 1321728"/>
                <a:gd name="connsiteX10" fmla="*/ 207168 w 271462"/>
                <a:gd name="connsiteY10" fmla="*/ 59532 h 1321728"/>
                <a:gd name="connsiteX11" fmla="*/ 221456 w 271462"/>
                <a:gd name="connsiteY11" fmla="*/ 64294 h 1321728"/>
                <a:gd name="connsiteX12" fmla="*/ 230981 w 271462"/>
                <a:gd name="connsiteY12" fmla="*/ 71438 h 1321728"/>
                <a:gd name="connsiteX13" fmla="*/ 242887 w 271462"/>
                <a:gd name="connsiteY13" fmla="*/ 83344 h 1321728"/>
                <a:gd name="connsiteX14" fmla="*/ 250031 w 271462"/>
                <a:gd name="connsiteY14" fmla="*/ 104775 h 1321728"/>
                <a:gd name="connsiteX15" fmla="*/ 252412 w 271462"/>
                <a:gd name="connsiteY15" fmla="*/ 111919 h 1321728"/>
                <a:gd name="connsiteX16" fmla="*/ 259556 w 271462"/>
                <a:gd name="connsiteY16" fmla="*/ 114300 h 1321728"/>
                <a:gd name="connsiteX17" fmla="*/ 264318 w 271462"/>
                <a:gd name="connsiteY17" fmla="*/ 130969 h 1321728"/>
                <a:gd name="connsiteX18" fmla="*/ 266700 w 271462"/>
                <a:gd name="connsiteY18" fmla="*/ 138113 h 1321728"/>
                <a:gd name="connsiteX19" fmla="*/ 271462 w 271462"/>
                <a:gd name="connsiteY19" fmla="*/ 166688 h 1321728"/>
                <a:gd name="connsiteX20" fmla="*/ 269081 w 271462"/>
                <a:gd name="connsiteY20" fmla="*/ 202407 h 1321728"/>
                <a:gd name="connsiteX21" fmla="*/ 264318 w 271462"/>
                <a:gd name="connsiteY21" fmla="*/ 230982 h 1321728"/>
                <a:gd name="connsiteX22" fmla="*/ 261937 w 271462"/>
                <a:gd name="connsiteY22" fmla="*/ 254794 h 1321728"/>
                <a:gd name="connsiteX23" fmla="*/ 259556 w 271462"/>
                <a:gd name="connsiteY23" fmla="*/ 266700 h 1321728"/>
                <a:gd name="connsiteX24" fmla="*/ 254793 w 271462"/>
                <a:gd name="connsiteY24" fmla="*/ 292894 h 1321728"/>
                <a:gd name="connsiteX25" fmla="*/ 250031 w 271462"/>
                <a:gd name="connsiteY25" fmla="*/ 402432 h 1321728"/>
                <a:gd name="connsiteX26" fmla="*/ 245268 w 271462"/>
                <a:gd name="connsiteY26" fmla="*/ 440532 h 1321728"/>
                <a:gd name="connsiteX27" fmla="*/ 242887 w 271462"/>
                <a:gd name="connsiteY27" fmla="*/ 471488 h 1321728"/>
                <a:gd name="connsiteX28" fmla="*/ 240506 w 271462"/>
                <a:gd name="connsiteY28" fmla="*/ 485775 h 1321728"/>
                <a:gd name="connsiteX29" fmla="*/ 242887 w 271462"/>
                <a:gd name="connsiteY29" fmla="*/ 528638 h 1321728"/>
                <a:gd name="connsiteX30" fmla="*/ 245268 w 271462"/>
                <a:gd name="connsiteY30" fmla="*/ 540544 h 1321728"/>
                <a:gd name="connsiteX31" fmla="*/ 247650 w 271462"/>
                <a:gd name="connsiteY31" fmla="*/ 554832 h 1321728"/>
                <a:gd name="connsiteX32" fmla="*/ 252412 w 271462"/>
                <a:gd name="connsiteY32" fmla="*/ 583407 h 1321728"/>
                <a:gd name="connsiteX33" fmla="*/ 254793 w 271462"/>
                <a:gd name="connsiteY33" fmla="*/ 604838 h 1321728"/>
                <a:gd name="connsiteX34" fmla="*/ 259556 w 271462"/>
                <a:gd name="connsiteY34" fmla="*/ 647700 h 1321728"/>
                <a:gd name="connsiteX35" fmla="*/ 264318 w 271462"/>
                <a:gd name="connsiteY35" fmla="*/ 676275 h 1321728"/>
                <a:gd name="connsiteX36" fmla="*/ 269081 w 271462"/>
                <a:gd name="connsiteY36" fmla="*/ 723900 h 1321728"/>
                <a:gd name="connsiteX37" fmla="*/ 271462 w 271462"/>
                <a:gd name="connsiteY37" fmla="*/ 781050 h 1321728"/>
                <a:gd name="connsiteX38" fmla="*/ 266700 w 271462"/>
                <a:gd name="connsiteY38" fmla="*/ 838200 h 1321728"/>
                <a:gd name="connsiteX39" fmla="*/ 264318 w 271462"/>
                <a:gd name="connsiteY39" fmla="*/ 864394 h 1321728"/>
                <a:gd name="connsiteX40" fmla="*/ 257175 w 271462"/>
                <a:gd name="connsiteY40" fmla="*/ 902494 h 1321728"/>
                <a:gd name="connsiteX41" fmla="*/ 254793 w 271462"/>
                <a:gd name="connsiteY41" fmla="*/ 923925 h 1321728"/>
                <a:gd name="connsiteX42" fmla="*/ 250031 w 271462"/>
                <a:gd name="connsiteY42" fmla="*/ 947738 h 1321728"/>
                <a:gd name="connsiteX43" fmla="*/ 247650 w 271462"/>
                <a:gd name="connsiteY43" fmla="*/ 973932 h 1321728"/>
                <a:gd name="connsiteX44" fmla="*/ 245268 w 271462"/>
                <a:gd name="connsiteY44" fmla="*/ 983457 h 1321728"/>
                <a:gd name="connsiteX45" fmla="*/ 240506 w 271462"/>
                <a:gd name="connsiteY45" fmla="*/ 1007269 h 1321728"/>
                <a:gd name="connsiteX46" fmla="*/ 235743 w 271462"/>
                <a:gd name="connsiteY46" fmla="*/ 1050132 h 1321728"/>
                <a:gd name="connsiteX47" fmla="*/ 233362 w 271462"/>
                <a:gd name="connsiteY47" fmla="*/ 1064419 h 1321728"/>
                <a:gd name="connsiteX48" fmla="*/ 238125 w 271462"/>
                <a:gd name="connsiteY48" fmla="*/ 1147763 h 1321728"/>
                <a:gd name="connsiteX49" fmla="*/ 242887 w 271462"/>
                <a:gd name="connsiteY49" fmla="*/ 1173957 h 1321728"/>
                <a:gd name="connsiteX50" fmla="*/ 240506 w 271462"/>
                <a:gd name="connsiteY50" fmla="*/ 1223963 h 1321728"/>
                <a:gd name="connsiteX51" fmla="*/ 235743 w 271462"/>
                <a:gd name="connsiteY51" fmla="*/ 1243013 h 1321728"/>
                <a:gd name="connsiteX52" fmla="*/ 228600 w 271462"/>
                <a:gd name="connsiteY52" fmla="*/ 1247775 h 1321728"/>
                <a:gd name="connsiteX53" fmla="*/ 216693 w 271462"/>
                <a:gd name="connsiteY53" fmla="*/ 1257300 h 1321728"/>
                <a:gd name="connsiteX54" fmla="*/ 209550 w 271462"/>
                <a:gd name="connsiteY54" fmla="*/ 1264444 h 1321728"/>
                <a:gd name="connsiteX55" fmla="*/ 192881 w 271462"/>
                <a:gd name="connsiteY55" fmla="*/ 1276350 h 1321728"/>
                <a:gd name="connsiteX56" fmla="*/ 185737 w 271462"/>
                <a:gd name="connsiteY56" fmla="*/ 1278732 h 1321728"/>
                <a:gd name="connsiteX57" fmla="*/ 159543 w 271462"/>
                <a:gd name="connsiteY57" fmla="*/ 1293019 h 1321728"/>
                <a:gd name="connsiteX58" fmla="*/ 126206 w 271462"/>
                <a:gd name="connsiteY58" fmla="*/ 1302544 h 1321728"/>
                <a:gd name="connsiteX59" fmla="*/ 116681 w 271462"/>
                <a:gd name="connsiteY59" fmla="*/ 1304925 h 1321728"/>
                <a:gd name="connsiteX60" fmla="*/ 100012 w 271462"/>
                <a:gd name="connsiteY60" fmla="*/ 1312069 h 1321728"/>
                <a:gd name="connsiteX61" fmla="*/ 90487 w 271462"/>
                <a:gd name="connsiteY61" fmla="*/ 1314450 h 1321728"/>
                <a:gd name="connsiteX62" fmla="*/ 69056 w 271462"/>
                <a:gd name="connsiteY62" fmla="*/ 1316832 h 1321728"/>
                <a:gd name="connsiteX63" fmla="*/ 19050 w 271462"/>
                <a:gd name="connsiteY63" fmla="*/ 1321594 h 1321728"/>
                <a:gd name="connsiteX64" fmla="*/ 0 w 271462"/>
                <a:gd name="connsiteY64" fmla="*/ 1321594 h 132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1462" h="1321728">
                  <a:moveTo>
                    <a:pt x="14287" y="0"/>
                  </a:moveTo>
                  <a:cubicBezTo>
                    <a:pt x="49653" y="4422"/>
                    <a:pt x="21843" y="-319"/>
                    <a:pt x="40481" y="4763"/>
                  </a:cubicBezTo>
                  <a:cubicBezTo>
                    <a:pt x="46796" y="6485"/>
                    <a:pt x="53359" y="7347"/>
                    <a:pt x="59531" y="9525"/>
                  </a:cubicBezTo>
                  <a:cubicBezTo>
                    <a:pt x="88720" y="19827"/>
                    <a:pt x="71920" y="15856"/>
                    <a:pt x="90487" y="23813"/>
                  </a:cubicBezTo>
                  <a:cubicBezTo>
                    <a:pt x="96710" y="26480"/>
                    <a:pt x="100445" y="26562"/>
                    <a:pt x="107156" y="28575"/>
                  </a:cubicBezTo>
                  <a:cubicBezTo>
                    <a:pt x="111964" y="30018"/>
                    <a:pt x="116573" y="32121"/>
                    <a:pt x="121443" y="33338"/>
                  </a:cubicBezTo>
                  <a:cubicBezTo>
                    <a:pt x="127793" y="34925"/>
                    <a:pt x="134199" y="36302"/>
                    <a:pt x="140493" y="38100"/>
                  </a:cubicBezTo>
                  <a:cubicBezTo>
                    <a:pt x="146049" y="39688"/>
                    <a:pt x="151496" y="41730"/>
                    <a:pt x="157162" y="42863"/>
                  </a:cubicBezTo>
                  <a:cubicBezTo>
                    <a:pt x="163437" y="44118"/>
                    <a:pt x="169862" y="44450"/>
                    <a:pt x="176212" y="45244"/>
                  </a:cubicBezTo>
                  <a:cubicBezTo>
                    <a:pt x="181768" y="46832"/>
                    <a:pt x="187634" y="47585"/>
                    <a:pt x="192881" y="50007"/>
                  </a:cubicBezTo>
                  <a:cubicBezTo>
                    <a:pt x="198078" y="52406"/>
                    <a:pt x="201738" y="57722"/>
                    <a:pt x="207168" y="59532"/>
                  </a:cubicBezTo>
                  <a:lnTo>
                    <a:pt x="221456" y="64294"/>
                  </a:lnTo>
                  <a:cubicBezTo>
                    <a:pt x="224631" y="66675"/>
                    <a:pt x="227751" y="69131"/>
                    <a:pt x="230981" y="71438"/>
                  </a:cubicBezTo>
                  <a:cubicBezTo>
                    <a:pt x="237702" y="76239"/>
                    <a:pt x="239342" y="75367"/>
                    <a:pt x="242887" y="83344"/>
                  </a:cubicBezTo>
                  <a:cubicBezTo>
                    <a:pt x="242888" y="83346"/>
                    <a:pt x="248840" y="101202"/>
                    <a:pt x="250031" y="104775"/>
                  </a:cubicBezTo>
                  <a:cubicBezTo>
                    <a:pt x="250825" y="107156"/>
                    <a:pt x="250031" y="111125"/>
                    <a:pt x="252412" y="111919"/>
                  </a:cubicBezTo>
                  <a:lnTo>
                    <a:pt x="259556" y="114300"/>
                  </a:lnTo>
                  <a:cubicBezTo>
                    <a:pt x="265272" y="131449"/>
                    <a:pt x="258330" y="110012"/>
                    <a:pt x="264318" y="130969"/>
                  </a:cubicBezTo>
                  <a:cubicBezTo>
                    <a:pt x="265008" y="133383"/>
                    <a:pt x="266091" y="135678"/>
                    <a:pt x="266700" y="138113"/>
                  </a:cubicBezTo>
                  <a:cubicBezTo>
                    <a:pt x="269021" y="147394"/>
                    <a:pt x="270119" y="157285"/>
                    <a:pt x="271462" y="166688"/>
                  </a:cubicBezTo>
                  <a:cubicBezTo>
                    <a:pt x="270668" y="178594"/>
                    <a:pt x="270161" y="190523"/>
                    <a:pt x="269081" y="202407"/>
                  </a:cubicBezTo>
                  <a:cubicBezTo>
                    <a:pt x="268096" y="213242"/>
                    <a:pt x="266381" y="220668"/>
                    <a:pt x="264318" y="230982"/>
                  </a:cubicBezTo>
                  <a:cubicBezTo>
                    <a:pt x="263524" y="238919"/>
                    <a:pt x="262991" y="246887"/>
                    <a:pt x="261937" y="254794"/>
                  </a:cubicBezTo>
                  <a:cubicBezTo>
                    <a:pt x="261402" y="258806"/>
                    <a:pt x="260280" y="262718"/>
                    <a:pt x="259556" y="266700"/>
                  </a:cubicBezTo>
                  <a:cubicBezTo>
                    <a:pt x="253476" y="300143"/>
                    <a:pt x="260665" y="263544"/>
                    <a:pt x="254793" y="292894"/>
                  </a:cubicBezTo>
                  <a:cubicBezTo>
                    <a:pt x="253206" y="329407"/>
                    <a:pt x="251952" y="365935"/>
                    <a:pt x="250031" y="402432"/>
                  </a:cubicBezTo>
                  <a:cubicBezTo>
                    <a:pt x="248853" y="424809"/>
                    <a:pt x="248645" y="423651"/>
                    <a:pt x="245268" y="440532"/>
                  </a:cubicBezTo>
                  <a:cubicBezTo>
                    <a:pt x="244474" y="450851"/>
                    <a:pt x="243970" y="461196"/>
                    <a:pt x="242887" y="471488"/>
                  </a:cubicBezTo>
                  <a:cubicBezTo>
                    <a:pt x="242382" y="476289"/>
                    <a:pt x="240506" y="480947"/>
                    <a:pt x="240506" y="485775"/>
                  </a:cubicBezTo>
                  <a:cubicBezTo>
                    <a:pt x="240506" y="500085"/>
                    <a:pt x="241647" y="514382"/>
                    <a:pt x="242887" y="528638"/>
                  </a:cubicBezTo>
                  <a:cubicBezTo>
                    <a:pt x="243238" y="532670"/>
                    <a:pt x="244544" y="536562"/>
                    <a:pt x="245268" y="540544"/>
                  </a:cubicBezTo>
                  <a:cubicBezTo>
                    <a:pt x="246132" y="545295"/>
                    <a:pt x="246967" y="550052"/>
                    <a:pt x="247650" y="554832"/>
                  </a:cubicBezTo>
                  <a:cubicBezTo>
                    <a:pt x="251368" y="580852"/>
                    <a:pt x="248003" y="565770"/>
                    <a:pt x="252412" y="583407"/>
                  </a:cubicBezTo>
                  <a:cubicBezTo>
                    <a:pt x="253206" y="590551"/>
                    <a:pt x="254040" y="597690"/>
                    <a:pt x="254793" y="604838"/>
                  </a:cubicBezTo>
                  <a:cubicBezTo>
                    <a:pt x="255839" y="614778"/>
                    <a:pt x="257768" y="636972"/>
                    <a:pt x="259556" y="647700"/>
                  </a:cubicBezTo>
                  <a:cubicBezTo>
                    <a:pt x="264446" y="677044"/>
                    <a:pt x="259659" y="627363"/>
                    <a:pt x="264318" y="676275"/>
                  </a:cubicBezTo>
                  <a:cubicBezTo>
                    <a:pt x="269138" y="726881"/>
                    <a:pt x="264148" y="689366"/>
                    <a:pt x="269081" y="723900"/>
                  </a:cubicBezTo>
                  <a:cubicBezTo>
                    <a:pt x="269875" y="742950"/>
                    <a:pt x="271462" y="761983"/>
                    <a:pt x="271462" y="781050"/>
                  </a:cubicBezTo>
                  <a:cubicBezTo>
                    <a:pt x="271462" y="823404"/>
                    <a:pt x="269867" y="809699"/>
                    <a:pt x="266700" y="838200"/>
                  </a:cubicBezTo>
                  <a:cubicBezTo>
                    <a:pt x="265732" y="846914"/>
                    <a:pt x="265286" y="855680"/>
                    <a:pt x="264318" y="864394"/>
                  </a:cubicBezTo>
                  <a:cubicBezTo>
                    <a:pt x="262877" y="877358"/>
                    <a:pt x="260329" y="889875"/>
                    <a:pt x="257175" y="902494"/>
                  </a:cubicBezTo>
                  <a:cubicBezTo>
                    <a:pt x="256381" y="909638"/>
                    <a:pt x="255914" y="916825"/>
                    <a:pt x="254793" y="923925"/>
                  </a:cubicBezTo>
                  <a:cubicBezTo>
                    <a:pt x="253530" y="931921"/>
                    <a:pt x="251176" y="939725"/>
                    <a:pt x="250031" y="947738"/>
                  </a:cubicBezTo>
                  <a:cubicBezTo>
                    <a:pt x="248791" y="956417"/>
                    <a:pt x="248809" y="965242"/>
                    <a:pt x="247650" y="973932"/>
                  </a:cubicBezTo>
                  <a:cubicBezTo>
                    <a:pt x="247217" y="977176"/>
                    <a:pt x="245954" y="980257"/>
                    <a:pt x="245268" y="983457"/>
                  </a:cubicBezTo>
                  <a:cubicBezTo>
                    <a:pt x="243572" y="991372"/>
                    <a:pt x="241913" y="999298"/>
                    <a:pt x="240506" y="1007269"/>
                  </a:cubicBezTo>
                  <a:cubicBezTo>
                    <a:pt x="236958" y="1027374"/>
                    <a:pt x="238519" y="1026539"/>
                    <a:pt x="235743" y="1050132"/>
                  </a:cubicBezTo>
                  <a:cubicBezTo>
                    <a:pt x="235179" y="1054927"/>
                    <a:pt x="234156" y="1059657"/>
                    <a:pt x="233362" y="1064419"/>
                  </a:cubicBezTo>
                  <a:cubicBezTo>
                    <a:pt x="234787" y="1100043"/>
                    <a:pt x="234278" y="1116994"/>
                    <a:pt x="238125" y="1147763"/>
                  </a:cubicBezTo>
                  <a:cubicBezTo>
                    <a:pt x="239141" y="1155887"/>
                    <a:pt x="241262" y="1165830"/>
                    <a:pt x="242887" y="1173957"/>
                  </a:cubicBezTo>
                  <a:cubicBezTo>
                    <a:pt x="242093" y="1190626"/>
                    <a:pt x="241786" y="1207325"/>
                    <a:pt x="240506" y="1223963"/>
                  </a:cubicBezTo>
                  <a:cubicBezTo>
                    <a:pt x="240468" y="1224458"/>
                    <a:pt x="237647" y="1240633"/>
                    <a:pt x="235743" y="1243013"/>
                  </a:cubicBezTo>
                  <a:cubicBezTo>
                    <a:pt x="233955" y="1245248"/>
                    <a:pt x="230981" y="1246188"/>
                    <a:pt x="228600" y="1247775"/>
                  </a:cubicBezTo>
                  <a:cubicBezTo>
                    <a:pt x="217946" y="1263754"/>
                    <a:pt x="230497" y="1248097"/>
                    <a:pt x="216693" y="1257300"/>
                  </a:cubicBezTo>
                  <a:cubicBezTo>
                    <a:pt x="213891" y="1259168"/>
                    <a:pt x="212107" y="1262252"/>
                    <a:pt x="209550" y="1264444"/>
                  </a:cubicBezTo>
                  <a:cubicBezTo>
                    <a:pt x="208036" y="1265742"/>
                    <a:pt x="195900" y="1274841"/>
                    <a:pt x="192881" y="1276350"/>
                  </a:cubicBezTo>
                  <a:cubicBezTo>
                    <a:pt x="190636" y="1277473"/>
                    <a:pt x="187982" y="1277609"/>
                    <a:pt x="185737" y="1278732"/>
                  </a:cubicBezTo>
                  <a:cubicBezTo>
                    <a:pt x="172700" y="1285251"/>
                    <a:pt x="181118" y="1287625"/>
                    <a:pt x="159543" y="1293019"/>
                  </a:cubicBezTo>
                  <a:cubicBezTo>
                    <a:pt x="117787" y="1303459"/>
                    <a:pt x="160382" y="1292292"/>
                    <a:pt x="126206" y="1302544"/>
                  </a:cubicBezTo>
                  <a:cubicBezTo>
                    <a:pt x="123071" y="1303484"/>
                    <a:pt x="119828" y="1304026"/>
                    <a:pt x="116681" y="1304925"/>
                  </a:cubicBezTo>
                  <a:cubicBezTo>
                    <a:pt x="100128" y="1309655"/>
                    <a:pt x="120326" y="1304452"/>
                    <a:pt x="100012" y="1312069"/>
                  </a:cubicBezTo>
                  <a:cubicBezTo>
                    <a:pt x="96948" y="1313218"/>
                    <a:pt x="93722" y="1313952"/>
                    <a:pt x="90487" y="1314450"/>
                  </a:cubicBezTo>
                  <a:cubicBezTo>
                    <a:pt x="83383" y="1315543"/>
                    <a:pt x="76194" y="1315992"/>
                    <a:pt x="69056" y="1316832"/>
                  </a:cubicBezTo>
                  <a:cubicBezTo>
                    <a:pt x="46328" y="1319506"/>
                    <a:pt x="45728" y="1320324"/>
                    <a:pt x="19050" y="1321594"/>
                  </a:cubicBezTo>
                  <a:cubicBezTo>
                    <a:pt x="12707" y="1321896"/>
                    <a:pt x="6350" y="1321594"/>
                    <a:pt x="0" y="1321594"/>
                  </a:cubicBezTo>
                </a:path>
              </a:pathLst>
            </a:cu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Arrow: Down 166">
              <a:extLst>
                <a:ext uri="{FF2B5EF4-FFF2-40B4-BE49-F238E27FC236}">
                  <a16:creationId xmlns:a16="http://schemas.microsoft.com/office/drawing/2014/main" id="{E31CA4C1-9755-48F7-8BA9-9CA8053C0B4E}"/>
                </a:ext>
              </a:extLst>
            </p:cNvPr>
            <p:cNvSpPr/>
            <p:nvPr/>
          </p:nvSpPr>
          <p:spPr>
            <a:xfrm rot="5400000">
              <a:off x="5904860" y="4621434"/>
              <a:ext cx="138953" cy="131981"/>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Arrow: Down 167">
              <a:extLst>
                <a:ext uri="{FF2B5EF4-FFF2-40B4-BE49-F238E27FC236}">
                  <a16:creationId xmlns:a16="http://schemas.microsoft.com/office/drawing/2014/main" id="{E128BF4D-B8DF-4E51-A5CD-CD0749440DE5}"/>
                </a:ext>
              </a:extLst>
            </p:cNvPr>
            <p:cNvSpPr/>
            <p:nvPr/>
          </p:nvSpPr>
          <p:spPr>
            <a:xfrm rot="5400000">
              <a:off x="5905616" y="4792216"/>
              <a:ext cx="138953" cy="131981"/>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Arrow: Down 168">
              <a:extLst>
                <a:ext uri="{FF2B5EF4-FFF2-40B4-BE49-F238E27FC236}">
                  <a16:creationId xmlns:a16="http://schemas.microsoft.com/office/drawing/2014/main" id="{20960B73-9678-45A6-9537-21714A8EE8F8}"/>
                </a:ext>
              </a:extLst>
            </p:cNvPr>
            <p:cNvSpPr/>
            <p:nvPr/>
          </p:nvSpPr>
          <p:spPr>
            <a:xfrm rot="5400000">
              <a:off x="5905616" y="4963000"/>
              <a:ext cx="138953" cy="131981"/>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Arrow: Down 169">
              <a:extLst>
                <a:ext uri="{FF2B5EF4-FFF2-40B4-BE49-F238E27FC236}">
                  <a16:creationId xmlns:a16="http://schemas.microsoft.com/office/drawing/2014/main" id="{C878A67D-3B7A-4AC2-8EB4-2F7025414F65}"/>
                </a:ext>
              </a:extLst>
            </p:cNvPr>
            <p:cNvSpPr/>
            <p:nvPr/>
          </p:nvSpPr>
          <p:spPr>
            <a:xfrm rot="5400000">
              <a:off x="5904860" y="4450651"/>
              <a:ext cx="138953" cy="131981"/>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Arrow: Down 170">
              <a:extLst>
                <a:ext uri="{FF2B5EF4-FFF2-40B4-BE49-F238E27FC236}">
                  <a16:creationId xmlns:a16="http://schemas.microsoft.com/office/drawing/2014/main" id="{73807568-B0F7-4D14-9C5B-F8A018A0E828}"/>
                </a:ext>
              </a:extLst>
            </p:cNvPr>
            <p:cNvSpPr/>
            <p:nvPr/>
          </p:nvSpPr>
          <p:spPr>
            <a:xfrm rot="5400000">
              <a:off x="5904859" y="4279868"/>
              <a:ext cx="138953" cy="131981"/>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3" name="Straight Arrow Connector 172">
              <a:extLst>
                <a:ext uri="{FF2B5EF4-FFF2-40B4-BE49-F238E27FC236}">
                  <a16:creationId xmlns:a16="http://schemas.microsoft.com/office/drawing/2014/main" id="{FD1C7E91-4234-4826-B0D0-41C9C5BD30F0}"/>
                </a:ext>
              </a:extLst>
            </p:cNvPr>
            <p:cNvCxnSpPr>
              <a:cxnSpLocks/>
            </p:cNvCxnSpPr>
            <p:nvPr/>
          </p:nvCxnSpPr>
          <p:spPr>
            <a:xfrm flipH="1">
              <a:off x="5994976" y="4164824"/>
              <a:ext cx="210562" cy="96647"/>
            </a:xfrm>
            <a:prstGeom prst="straightConnector1">
              <a:avLst/>
            </a:prstGeom>
            <a:ln>
              <a:solidFill>
                <a:srgbClr val="B11C27"/>
              </a:solidFill>
              <a:tailEnd type="triangle"/>
            </a:ln>
          </p:spPr>
          <p:style>
            <a:lnRef idx="1">
              <a:schemeClr val="accent1"/>
            </a:lnRef>
            <a:fillRef idx="0">
              <a:schemeClr val="accent1"/>
            </a:fillRef>
            <a:effectRef idx="0">
              <a:schemeClr val="accent1"/>
            </a:effectRef>
            <a:fontRef idx="minor">
              <a:schemeClr val="tx1"/>
            </a:fontRef>
          </p:style>
        </p:cxnSp>
        <p:sp>
          <p:nvSpPr>
            <p:cNvPr id="177" name="Rectangle 176">
              <a:extLst>
                <a:ext uri="{FF2B5EF4-FFF2-40B4-BE49-F238E27FC236}">
                  <a16:creationId xmlns:a16="http://schemas.microsoft.com/office/drawing/2014/main" id="{80CF7CA6-6F07-4B66-BEDC-B758FD1F9690}"/>
                </a:ext>
              </a:extLst>
            </p:cNvPr>
            <p:cNvSpPr/>
            <p:nvPr/>
          </p:nvSpPr>
          <p:spPr>
            <a:xfrm>
              <a:off x="6120156" y="4068253"/>
              <a:ext cx="485431" cy="163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ilter</a:t>
              </a:r>
              <a:endParaRPr lang="en-US" sz="1000" dirty="0">
                <a:solidFill>
                  <a:schemeClr val="tx1"/>
                </a:solidFill>
              </a:endParaRPr>
            </a:p>
          </p:txBody>
        </p:sp>
        <p:sp>
          <p:nvSpPr>
            <p:cNvPr id="178" name="Freeform: Shape 177">
              <a:extLst>
                <a:ext uri="{FF2B5EF4-FFF2-40B4-BE49-F238E27FC236}">
                  <a16:creationId xmlns:a16="http://schemas.microsoft.com/office/drawing/2014/main" id="{28E49C1C-2962-4BDB-90BA-F385A163BA67}"/>
                </a:ext>
              </a:extLst>
            </p:cNvPr>
            <p:cNvSpPr/>
            <p:nvPr/>
          </p:nvSpPr>
          <p:spPr>
            <a:xfrm>
              <a:off x="5795963" y="4017169"/>
              <a:ext cx="109562" cy="1321594"/>
            </a:xfrm>
            <a:custGeom>
              <a:avLst/>
              <a:gdLst>
                <a:gd name="connsiteX0" fmla="*/ 14287 w 109562"/>
                <a:gd name="connsiteY0" fmla="*/ 0 h 1321594"/>
                <a:gd name="connsiteX1" fmla="*/ 26193 w 109562"/>
                <a:gd name="connsiteY1" fmla="*/ 4762 h 1321594"/>
                <a:gd name="connsiteX2" fmla="*/ 33337 w 109562"/>
                <a:gd name="connsiteY2" fmla="*/ 9525 h 1321594"/>
                <a:gd name="connsiteX3" fmla="*/ 52387 w 109562"/>
                <a:gd name="connsiteY3" fmla="*/ 21431 h 1321594"/>
                <a:gd name="connsiteX4" fmla="*/ 66675 w 109562"/>
                <a:gd name="connsiteY4" fmla="*/ 38100 h 1321594"/>
                <a:gd name="connsiteX5" fmla="*/ 73818 w 109562"/>
                <a:gd name="connsiteY5" fmla="*/ 52387 h 1321594"/>
                <a:gd name="connsiteX6" fmla="*/ 78581 w 109562"/>
                <a:gd name="connsiteY6" fmla="*/ 59531 h 1321594"/>
                <a:gd name="connsiteX7" fmla="*/ 83343 w 109562"/>
                <a:gd name="connsiteY7" fmla="*/ 73819 h 1321594"/>
                <a:gd name="connsiteX8" fmla="*/ 85725 w 109562"/>
                <a:gd name="connsiteY8" fmla="*/ 100012 h 1321594"/>
                <a:gd name="connsiteX9" fmla="*/ 88106 w 109562"/>
                <a:gd name="connsiteY9" fmla="*/ 109537 h 1321594"/>
                <a:gd name="connsiteX10" fmla="*/ 97631 w 109562"/>
                <a:gd name="connsiteY10" fmla="*/ 123825 h 1321594"/>
                <a:gd name="connsiteX11" fmla="*/ 104775 w 109562"/>
                <a:gd name="connsiteY11" fmla="*/ 142875 h 1321594"/>
                <a:gd name="connsiteX12" fmla="*/ 109537 w 109562"/>
                <a:gd name="connsiteY12" fmla="*/ 173831 h 1321594"/>
                <a:gd name="connsiteX13" fmla="*/ 104775 w 109562"/>
                <a:gd name="connsiteY13" fmla="*/ 245269 h 1321594"/>
                <a:gd name="connsiteX14" fmla="*/ 102393 w 109562"/>
                <a:gd name="connsiteY14" fmla="*/ 266700 h 1321594"/>
                <a:gd name="connsiteX15" fmla="*/ 97631 w 109562"/>
                <a:gd name="connsiteY15" fmla="*/ 297656 h 1321594"/>
                <a:gd name="connsiteX16" fmla="*/ 95250 w 109562"/>
                <a:gd name="connsiteY16" fmla="*/ 326231 h 1321594"/>
                <a:gd name="connsiteX17" fmla="*/ 97631 w 109562"/>
                <a:gd name="connsiteY17" fmla="*/ 335756 h 1321594"/>
                <a:gd name="connsiteX18" fmla="*/ 100012 w 109562"/>
                <a:gd name="connsiteY18" fmla="*/ 359569 h 1321594"/>
                <a:gd name="connsiteX19" fmla="*/ 104775 w 109562"/>
                <a:gd name="connsiteY19" fmla="*/ 366712 h 1321594"/>
                <a:gd name="connsiteX20" fmla="*/ 109537 w 109562"/>
                <a:gd name="connsiteY20" fmla="*/ 385762 h 1321594"/>
                <a:gd name="connsiteX21" fmla="*/ 104775 w 109562"/>
                <a:gd name="connsiteY21" fmla="*/ 450056 h 1321594"/>
                <a:gd name="connsiteX22" fmla="*/ 97631 w 109562"/>
                <a:gd name="connsiteY22" fmla="*/ 473869 h 1321594"/>
                <a:gd name="connsiteX23" fmla="*/ 95250 w 109562"/>
                <a:gd name="connsiteY23" fmla="*/ 485775 h 1321594"/>
                <a:gd name="connsiteX24" fmla="*/ 90487 w 109562"/>
                <a:gd name="connsiteY24" fmla="*/ 507206 h 1321594"/>
                <a:gd name="connsiteX25" fmla="*/ 85725 w 109562"/>
                <a:gd name="connsiteY25" fmla="*/ 535781 h 1321594"/>
                <a:gd name="connsiteX26" fmla="*/ 80962 w 109562"/>
                <a:gd name="connsiteY26" fmla="*/ 559594 h 1321594"/>
                <a:gd name="connsiteX27" fmla="*/ 78581 w 109562"/>
                <a:gd name="connsiteY27" fmla="*/ 583406 h 1321594"/>
                <a:gd name="connsiteX28" fmla="*/ 80962 w 109562"/>
                <a:gd name="connsiteY28" fmla="*/ 616744 h 1321594"/>
                <a:gd name="connsiteX29" fmla="*/ 85725 w 109562"/>
                <a:gd name="connsiteY29" fmla="*/ 623887 h 1321594"/>
                <a:gd name="connsiteX30" fmla="*/ 88106 w 109562"/>
                <a:gd name="connsiteY30" fmla="*/ 631031 h 1321594"/>
                <a:gd name="connsiteX31" fmla="*/ 92868 w 109562"/>
                <a:gd name="connsiteY31" fmla="*/ 638175 h 1321594"/>
                <a:gd name="connsiteX32" fmla="*/ 97631 w 109562"/>
                <a:gd name="connsiteY32" fmla="*/ 650081 h 1321594"/>
                <a:gd name="connsiteX33" fmla="*/ 104775 w 109562"/>
                <a:gd name="connsiteY33" fmla="*/ 676275 h 1321594"/>
                <a:gd name="connsiteX34" fmla="*/ 102393 w 109562"/>
                <a:gd name="connsiteY34" fmla="*/ 728662 h 1321594"/>
                <a:gd name="connsiteX35" fmla="*/ 102393 w 109562"/>
                <a:gd name="connsiteY35" fmla="*/ 752475 h 1321594"/>
                <a:gd name="connsiteX36" fmla="*/ 100012 w 109562"/>
                <a:gd name="connsiteY36" fmla="*/ 888206 h 1321594"/>
                <a:gd name="connsiteX37" fmla="*/ 97631 w 109562"/>
                <a:gd name="connsiteY37" fmla="*/ 907256 h 1321594"/>
                <a:gd name="connsiteX38" fmla="*/ 92868 w 109562"/>
                <a:gd name="connsiteY38" fmla="*/ 942975 h 1321594"/>
                <a:gd name="connsiteX39" fmla="*/ 92868 w 109562"/>
                <a:gd name="connsiteY39" fmla="*/ 1083469 h 1321594"/>
                <a:gd name="connsiteX40" fmla="*/ 95250 w 109562"/>
                <a:gd name="connsiteY40" fmla="*/ 1090612 h 1321594"/>
                <a:gd name="connsiteX41" fmla="*/ 92868 w 109562"/>
                <a:gd name="connsiteY41" fmla="*/ 1159669 h 1321594"/>
                <a:gd name="connsiteX42" fmla="*/ 90487 w 109562"/>
                <a:gd name="connsiteY42" fmla="*/ 1169194 h 1321594"/>
                <a:gd name="connsiteX43" fmla="*/ 85725 w 109562"/>
                <a:gd name="connsiteY43" fmla="*/ 1209675 h 1321594"/>
                <a:gd name="connsiteX44" fmla="*/ 78581 w 109562"/>
                <a:gd name="connsiteY44" fmla="*/ 1238250 h 1321594"/>
                <a:gd name="connsiteX45" fmla="*/ 76200 w 109562"/>
                <a:gd name="connsiteY45" fmla="*/ 1245394 h 1321594"/>
                <a:gd name="connsiteX46" fmla="*/ 66675 w 109562"/>
                <a:gd name="connsiteY46" fmla="*/ 1252537 h 1321594"/>
                <a:gd name="connsiteX47" fmla="*/ 50006 w 109562"/>
                <a:gd name="connsiteY47" fmla="*/ 1269206 h 1321594"/>
                <a:gd name="connsiteX48" fmla="*/ 40481 w 109562"/>
                <a:gd name="connsiteY48" fmla="*/ 1278731 h 1321594"/>
                <a:gd name="connsiteX49" fmla="*/ 38100 w 109562"/>
                <a:gd name="connsiteY49" fmla="*/ 1285875 h 1321594"/>
                <a:gd name="connsiteX50" fmla="*/ 30956 w 109562"/>
                <a:gd name="connsiteY50" fmla="*/ 1290637 h 1321594"/>
                <a:gd name="connsiteX51" fmla="*/ 26193 w 109562"/>
                <a:gd name="connsiteY51" fmla="*/ 1297781 h 1321594"/>
                <a:gd name="connsiteX52" fmla="*/ 19050 w 109562"/>
                <a:gd name="connsiteY52" fmla="*/ 1312069 h 1321594"/>
                <a:gd name="connsiteX53" fmla="*/ 4762 w 109562"/>
                <a:gd name="connsiteY53" fmla="*/ 1319212 h 1321594"/>
                <a:gd name="connsiteX54" fmla="*/ 0 w 109562"/>
                <a:gd name="connsiteY54" fmla="*/ 1321594 h 132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562" h="1321594">
                  <a:moveTo>
                    <a:pt x="14287" y="0"/>
                  </a:moveTo>
                  <a:cubicBezTo>
                    <a:pt x="18256" y="1587"/>
                    <a:pt x="22370" y="2850"/>
                    <a:pt x="26193" y="4762"/>
                  </a:cubicBezTo>
                  <a:cubicBezTo>
                    <a:pt x="28753" y="6042"/>
                    <a:pt x="30910" y="8008"/>
                    <a:pt x="33337" y="9525"/>
                  </a:cubicBezTo>
                  <a:cubicBezTo>
                    <a:pt x="56343" y="23904"/>
                    <a:pt x="36046" y="10538"/>
                    <a:pt x="52387" y="21431"/>
                  </a:cubicBezTo>
                  <a:cubicBezTo>
                    <a:pt x="63325" y="37836"/>
                    <a:pt x="49347" y="17883"/>
                    <a:pt x="66675" y="38100"/>
                  </a:cubicBezTo>
                  <a:cubicBezTo>
                    <a:pt x="74864" y="47654"/>
                    <a:pt x="68748" y="42247"/>
                    <a:pt x="73818" y="52387"/>
                  </a:cubicBezTo>
                  <a:cubicBezTo>
                    <a:pt x="75098" y="54947"/>
                    <a:pt x="76993" y="57150"/>
                    <a:pt x="78581" y="59531"/>
                  </a:cubicBezTo>
                  <a:cubicBezTo>
                    <a:pt x="80168" y="64294"/>
                    <a:pt x="82888" y="68819"/>
                    <a:pt x="83343" y="73819"/>
                  </a:cubicBezTo>
                  <a:cubicBezTo>
                    <a:pt x="84137" y="82550"/>
                    <a:pt x="84566" y="91322"/>
                    <a:pt x="85725" y="100012"/>
                  </a:cubicBezTo>
                  <a:cubicBezTo>
                    <a:pt x="86158" y="103256"/>
                    <a:pt x="86642" y="106610"/>
                    <a:pt x="88106" y="109537"/>
                  </a:cubicBezTo>
                  <a:cubicBezTo>
                    <a:pt x="90666" y="114657"/>
                    <a:pt x="95505" y="118510"/>
                    <a:pt x="97631" y="123825"/>
                  </a:cubicBezTo>
                  <a:cubicBezTo>
                    <a:pt x="99083" y="127455"/>
                    <a:pt x="103532" y="137905"/>
                    <a:pt x="104775" y="142875"/>
                  </a:cubicBezTo>
                  <a:cubicBezTo>
                    <a:pt x="107501" y="153780"/>
                    <a:pt x="108092" y="162270"/>
                    <a:pt x="109537" y="173831"/>
                  </a:cubicBezTo>
                  <a:cubicBezTo>
                    <a:pt x="107414" y="214172"/>
                    <a:pt x="108106" y="211964"/>
                    <a:pt x="104775" y="245269"/>
                  </a:cubicBezTo>
                  <a:cubicBezTo>
                    <a:pt x="104060" y="252421"/>
                    <a:pt x="103343" y="259575"/>
                    <a:pt x="102393" y="266700"/>
                  </a:cubicBezTo>
                  <a:cubicBezTo>
                    <a:pt x="99908" y="285339"/>
                    <a:pt x="99744" y="277585"/>
                    <a:pt x="97631" y="297656"/>
                  </a:cubicBezTo>
                  <a:cubicBezTo>
                    <a:pt x="96631" y="307162"/>
                    <a:pt x="96044" y="316706"/>
                    <a:pt x="95250" y="326231"/>
                  </a:cubicBezTo>
                  <a:cubicBezTo>
                    <a:pt x="96044" y="329406"/>
                    <a:pt x="97168" y="332516"/>
                    <a:pt x="97631" y="335756"/>
                  </a:cubicBezTo>
                  <a:cubicBezTo>
                    <a:pt x="98759" y="343653"/>
                    <a:pt x="98218" y="351796"/>
                    <a:pt x="100012" y="359569"/>
                  </a:cubicBezTo>
                  <a:cubicBezTo>
                    <a:pt x="100656" y="362357"/>
                    <a:pt x="103187" y="364331"/>
                    <a:pt x="104775" y="366712"/>
                  </a:cubicBezTo>
                  <a:cubicBezTo>
                    <a:pt x="106362" y="373062"/>
                    <a:pt x="109900" y="379227"/>
                    <a:pt x="109537" y="385762"/>
                  </a:cubicBezTo>
                  <a:cubicBezTo>
                    <a:pt x="108472" y="404928"/>
                    <a:pt x="107875" y="429911"/>
                    <a:pt x="104775" y="450056"/>
                  </a:cubicBezTo>
                  <a:cubicBezTo>
                    <a:pt x="102138" y="467193"/>
                    <a:pt x="101950" y="452270"/>
                    <a:pt x="97631" y="473869"/>
                  </a:cubicBezTo>
                  <a:cubicBezTo>
                    <a:pt x="96837" y="477838"/>
                    <a:pt x="96098" y="481818"/>
                    <a:pt x="95250" y="485775"/>
                  </a:cubicBezTo>
                  <a:cubicBezTo>
                    <a:pt x="93717" y="492931"/>
                    <a:pt x="91856" y="500017"/>
                    <a:pt x="90487" y="507206"/>
                  </a:cubicBezTo>
                  <a:cubicBezTo>
                    <a:pt x="88680" y="516692"/>
                    <a:pt x="87619" y="526312"/>
                    <a:pt x="85725" y="535781"/>
                  </a:cubicBezTo>
                  <a:cubicBezTo>
                    <a:pt x="84137" y="543719"/>
                    <a:pt x="81767" y="551539"/>
                    <a:pt x="80962" y="559594"/>
                  </a:cubicBezTo>
                  <a:lnTo>
                    <a:pt x="78581" y="583406"/>
                  </a:lnTo>
                  <a:cubicBezTo>
                    <a:pt x="79375" y="594519"/>
                    <a:pt x="79026" y="605773"/>
                    <a:pt x="80962" y="616744"/>
                  </a:cubicBezTo>
                  <a:cubicBezTo>
                    <a:pt x="81459" y="619562"/>
                    <a:pt x="84445" y="621327"/>
                    <a:pt x="85725" y="623887"/>
                  </a:cubicBezTo>
                  <a:cubicBezTo>
                    <a:pt x="86848" y="626132"/>
                    <a:pt x="86984" y="628786"/>
                    <a:pt x="88106" y="631031"/>
                  </a:cubicBezTo>
                  <a:cubicBezTo>
                    <a:pt x="89386" y="633591"/>
                    <a:pt x="91588" y="635615"/>
                    <a:pt x="92868" y="638175"/>
                  </a:cubicBezTo>
                  <a:cubicBezTo>
                    <a:pt x="94780" y="641998"/>
                    <a:pt x="96170" y="646064"/>
                    <a:pt x="97631" y="650081"/>
                  </a:cubicBezTo>
                  <a:cubicBezTo>
                    <a:pt x="103000" y="664845"/>
                    <a:pt x="101951" y="662158"/>
                    <a:pt x="104775" y="676275"/>
                  </a:cubicBezTo>
                  <a:cubicBezTo>
                    <a:pt x="103981" y="693737"/>
                    <a:pt x="103734" y="711233"/>
                    <a:pt x="102393" y="728662"/>
                  </a:cubicBezTo>
                  <a:cubicBezTo>
                    <a:pt x="100523" y="752966"/>
                    <a:pt x="96992" y="720066"/>
                    <a:pt x="102393" y="752475"/>
                  </a:cubicBezTo>
                  <a:cubicBezTo>
                    <a:pt x="101599" y="797719"/>
                    <a:pt x="101404" y="842977"/>
                    <a:pt x="100012" y="888206"/>
                  </a:cubicBezTo>
                  <a:cubicBezTo>
                    <a:pt x="99815" y="894602"/>
                    <a:pt x="98477" y="900913"/>
                    <a:pt x="97631" y="907256"/>
                  </a:cubicBezTo>
                  <a:cubicBezTo>
                    <a:pt x="91037" y="956717"/>
                    <a:pt x="99718" y="888191"/>
                    <a:pt x="92868" y="942975"/>
                  </a:cubicBezTo>
                  <a:cubicBezTo>
                    <a:pt x="90903" y="1007837"/>
                    <a:pt x="88659" y="1022451"/>
                    <a:pt x="92868" y="1083469"/>
                  </a:cubicBezTo>
                  <a:cubicBezTo>
                    <a:pt x="93041" y="1085973"/>
                    <a:pt x="94456" y="1088231"/>
                    <a:pt x="95250" y="1090612"/>
                  </a:cubicBezTo>
                  <a:cubicBezTo>
                    <a:pt x="94456" y="1113631"/>
                    <a:pt x="94261" y="1136679"/>
                    <a:pt x="92868" y="1159669"/>
                  </a:cubicBezTo>
                  <a:cubicBezTo>
                    <a:pt x="92670" y="1162936"/>
                    <a:pt x="91072" y="1165974"/>
                    <a:pt x="90487" y="1169194"/>
                  </a:cubicBezTo>
                  <a:cubicBezTo>
                    <a:pt x="88035" y="1182684"/>
                    <a:pt x="87163" y="1196020"/>
                    <a:pt x="85725" y="1209675"/>
                  </a:cubicBezTo>
                  <a:cubicBezTo>
                    <a:pt x="81742" y="1247508"/>
                    <a:pt x="87841" y="1219727"/>
                    <a:pt x="78581" y="1238250"/>
                  </a:cubicBezTo>
                  <a:cubicBezTo>
                    <a:pt x="77459" y="1240495"/>
                    <a:pt x="77807" y="1243466"/>
                    <a:pt x="76200" y="1245394"/>
                  </a:cubicBezTo>
                  <a:cubicBezTo>
                    <a:pt x="73659" y="1248443"/>
                    <a:pt x="69850" y="1250156"/>
                    <a:pt x="66675" y="1252537"/>
                  </a:cubicBezTo>
                  <a:cubicBezTo>
                    <a:pt x="55758" y="1268914"/>
                    <a:pt x="62580" y="1265015"/>
                    <a:pt x="50006" y="1269206"/>
                  </a:cubicBezTo>
                  <a:cubicBezTo>
                    <a:pt x="43657" y="1288257"/>
                    <a:pt x="53181" y="1266031"/>
                    <a:pt x="40481" y="1278731"/>
                  </a:cubicBezTo>
                  <a:cubicBezTo>
                    <a:pt x="38706" y="1280506"/>
                    <a:pt x="39668" y="1283915"/>
                    <a:pt x="38100" y="1285875"/>
                  </a:cubicBezTo>
                  <a:cubicBezTo>
                    <a:pt x="36312" y="1288110"/>
                    <a:pt x="33337" y="1289050"/>
                    <a:pt x="30956" y="1290637"/>
                  </a:cubicBezTo>
                  <a:cubicBezTo>
                    <a:pt x="29368" y="1293018"/>
                    <a:pt x="27473" y="1295221"/>
                    <a:pt x="26193" y="1297781"/>
                  </a:cubicBezTo>
                  <a:cubicBezTo>
                    <a:pt x="22320" y="1305527"/>
                    <a:pt x="25874" y="1305245"/>
                    <a:pt x="19050" y="1312069"/>
                  </a:cubicBezTo>
                  <a:cubicBezTo>
                    <a:pt x="13698" y="1317421"/>
                    <a:pt x="11218" y="1316629"/>
                    <a:pt x="4762" y="1319212"/>
                  </a:cubicBezTo>
                  <a:cubicBezTo>
                    <a:pt x="3114" y="1319871"/>
                    <a:pt x="1587" y="1320800"/>
                    <a:pt x="0" y="1321594"/>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9" name="Straight Arrow Connector 178">
              <a:extLst>
                <a:ext uri="{FF2B5EF4-FFF2-40B4-BE49-F238E27FC236}">
                  <a16:creationId xmlns:a16="http://schemas.microsoft.com/office/drawing/2014/main" id="{DB601C2D-88E0-4C21-888D-1424E85CD677}"/>
                </a:ext>
              </a:extLst>
            </p:cNvPr>
            <p:cNvCxnSpPr>
              <a:cxnSpLocks/>
            </p:cNvCxnSpPr>
            <p:nvPr/>
          </p:nvCxnSpPr>
          <p:spPr>
            <a:xfrm flipH="1" flipV="1">
              <a:off x="5945707" y="5155760"/>
              <a:ext cx="255046" cy="70710"/>
            </a:xfrm>
            <a:prstGeom prst="straightConnector1">
              <a:avLst/>
            </a:prstGeom>
            <a:ln>
              <a:solidFill>
                <a:srgbClr val="B11C27"/>
              </a:solidFill>
              <a:tailEnd type="triangle"/>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4CF76B5F-977D-49F6-87FA-6D485AB1C985}"/>
                </a:ext>
              </a:extLst>
            </p:cNvPr>
            <p:cNvSpPr/>
            <p:nvPr/>
          </p:nvSpPr>
          <p:spPr>
            <a:xfrm>
              <a:off x="6079163" y="5144677"/>
              <a:ext cx="485431" cy="163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ilter</a:t>
              </a:r>
              <a:endParaRPr lang="en-US" sz="1000" dirty="0">
                <a:solidFill>
                  <a:schemeClr val="tx1"/>
                </a:solidFill>
              </a:endParaRPr>
            </a:p>
          </p:txBody>
        </p:sp>
        <p:grpSp>
          <p:nvGrpSpPr>
            <p:cNvPr id="187" name="Group 186">
              <a:extLst>
                <a:ext uri="{FF2B5EF4-FFF2-40B4-BE49-F238E27FC236}">
                  <a16:creationId xmlns:a16="http://schemas.microsoft.com/office/drawing/2014/main" id="{968811F5-7452-48D7-81BE-AE8EA0063815}"/>
                </a:ext>
              </a:extLst>
            </p:cNvPr>
            <p:cNvGrpSpPr/>
            <p:nvPr/>
          </p:nvGrpSpPr>
          <p:grpSpPr>
            <a:xfrm>
              <a:off x="6839866" y="3996285"/>
              <a:ext cx="1204080" cy="1360664"/>
              <a:chOff x="6733670" y="3763346"/>
              <a:chExt cx="2124075" cy="2400300"/>
            </a:xfrm>
          </p:grpSpPr>
          <p:pic>
            <p:nvPicPr>
              <p:cNvPr id="188" name="Picture 187">
                <a:extLst>
                  <a:ext uri="{FF2B5EF4-FFF2-40B4-BE49-F238E27FC236}">
                    <a16:creationId xmlns:a16="http://schemas.microsoft.com/office/drawing/2014/main" id="{BF687318-69C6-44CF-BD51-0E27F2EBF07B}"/>
                  </a:ext>
                </a:extLst>
              </p:cNvPr>
              <p:cNvPicPr>
                <a:picLocks noChangeAspect="1"/>
              </p:cNvPicPr>
              <p:nvPr/>
            </p:nvPicPr>
            <p:blipFill>
              <a:blip r:embed="rId9"/>
              <a:stretch>
                <a:fillRect/>
              </a:stretch>
            </p:blipFill>
            <p:spPr>
              <a:xfrm>
                <a:off x="6733670" y="3763346"/>
                <a:ext cx="2124075" cy="2400300"/>
              </a:xfrm>
              <a:prstGeom prst="rect">
                <a:avLst/>
              </a:prstGeom>
            </p:spPr>
          </p:pic>
          <p:sp>
            <p:nvSpPr>
              <p:cNvPr id="189" name="Rectangle 188">
                <a:extLst>
                  <a:ext uri="{FF2B5EF4-FFF2-40B4-BE49-F238E27FC236}">
                    <a16:creationId xmlns:a16="http://schemas.microsoft.com/office/drawing/2014/main" id="{ECFAEB37-EACB-42D0-9855-0B4E1B693B39}"/>
                  </a:ext>
                </a:extLst>
              </p:cNvPr>
              <p:cNvSpPr/>
              <p:nvPr/>
            </p:nvSpPr>
            <p:spPr>
              <a:xfrm>
                <a:off x="6733670" y="3894873"/>
                <a:ext cx="189644" cy="2416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91" name="TextBox 190">
            <a:extLst>
              <a:ext uri="{FF2B5EF4-FFF2-40B4-BE49-F238E27FC236}">
                <a16:creationId xmlns:a16="http://schemas.microsoft.com/office/drawing/2014/main" id="{A1BBD4A6-AAE1-43E4-9F05-85508E17E60F}"/>
              </a:ext>
            </a:extLst>
          </p:cNvPr>
          <p:cNvSpPr txBox="1"/>
          <p:nvPr/>
        </p:nvSpPr>
        <p:spPr>
          <a:xfrm>
            <a:off x="226291" y="6159937"/>
            <a:ext cx="11739417" cy="578882"/>
          </a:xfrm>
          <a:prstGeom prst="roundRect">
            <a:avLst/>
          </a:prstGeom>
          <a:noFill/>
          <a:ln>
            <a:solidFill>
              <a:srgbClr val="EAEAEA"/>
            </a:solidFill>
          </a:ln>
        </p:spPr>
        <p:txBody>
          <a:bodyPr wrap="square" rtlCol="0" anchor="ctr">
            <a:spAutoFit/>
          </a:bodyPr>
          <a:lstStyle/>
          <a:p>
            <a:r>
              <a:rPr lang="en-US" sz="700" i="1" dirty="0"/>
              <a:t>Sources:</a:t>
            </a:r>
          </a:p>
          <a:p>
            <a:pPr marL="228600" indent="-228600">
              <a:buAutoNum type="arabicParenR"/>
            </a:pPr>
            <a:r>
              <a:rPr lang="en-US" sz="700" i="1" dirty="0"/>
              <a:t>Fan by Taylor Baldwin: www.taylorbaldwinstudio.com</a:t>
            </a:r>
          </a:p>
          <a:p>
            <a:pPr marL="228600" indent="-228600">
              <a:buAutoNum type="arabicParenR"/>
            </a:pPr>
            <a:r>
              <a:rPr lang="en-US" sz="700" i="1" dirty="0"/>
              <a:t>Air filter by Subaru</a:t>
            </a:r>
          </a:p>
          <a:p>
            <a:pPr marL="228600" indent="-228600">
              <a:buAutoNum type="arabicParenR"/>
            </a:pPr>
            <a:r>
              <a:rPr lang="en-US" sz="700" i="1" dirty="0"/>
              <a:t>Tape by Duck Brand:  https://www.duckbrand.com/uploads/activities/pdf/Packaging-Tape-Gun-Instructions-FINAL-copy.pdf</a:t>
            </a:r>
          </a:p>
        </p:txBody>
      </p:sp>
      <p:cxnSp>
        <p:nvCxnSpPr>
          <p:cNvPr id="193" name="Straight Arrow Connector 192">
            <a:extLst>
              <a:ext uri="{FF2B5EF4-FFF2-40B4-BE49-F238E27FC236}">
                <a16:creationId xmlns:a16="http://schemas.microsoft.com/office/drawing/2014/main" id="{214F2F93-7583-4CE3-B274-6C5917666E19}"/>
              </a:ext>
            </a:extLst>
          </p:cNvPr>
          <p:cNvCxnSpPr>
            <a:cxnSpLocks/>
          </p:cNvCxnSpPr>
          <p:nvPr/>
        </p:nvCxnSpPr>
        <p:spPr>
          <a:xfrm flipH="1">
            <a:off x="7453432" y="1914110"/>
            <a:ext cx="210562" cy="96647"/>
          </a:xfrm>
          <a:prstGeom prst="straightConnector1">
            <a:avLst/>
          </a:prstGeom>
          <a:ln>
            <a:solidFill>
              <a:srgbClr val="B11C27"/>
            </a:solidFill>
            <a:tailEnd type="triangle"/>
          </a:ln>
        </p:spPr>
        <p:style>
          <a:lnRef idx="1">
            <a:schemeClr val="accent1"/>
          </a:lnRef>
          <a:fillRef idx="0">
            <a:schemeClr val="accent1"/>
          </a:fillRef>
          <a:effectRef idx="0">
            <a:schemeClr val="accent1"/>
          </a:effectRef>
          <a:fontRef idx="minor">
            <a:schemeClr val="tx1"/>
          </a:fontRef>
        </p:style>
      </p:cxnSp>
      <p:sp>
        <p:nvSpPr>
          <p:cNvPr id="194" name="Rectangle 193">
            <a:extLst>
              <a:ext uri="{FF2B5EF4-FFF2-40B4-BE49-F238E27FC236}">
                <a16:creationId xmlns:a16="http://schemas.microsoft.com/office/drawing/2014/main" id="{BB94D086-66F6-49FD-A10B-DC7A601B8E81}"/>
              </a:ext>
            </a:extLst>
          </p:cNvPr>
          <p:cNvSpPr/>
          <p:nvPr/>
        </p:nvSpPr>
        <p:spPr>
          <a:xfrm>
            <a:off x="7578612" y="1817539"/>
            <a:ext cx="485431" cy="163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ilter</a:t>
            </a:r>
            <a:endParaRPr lang="en-US" sz="1000" dirty="0">
              <a:solidFill>
                <a:schemeClr val="tx1"/>
              </a:solidFill>
            </a:endParaRPr>
          </a:p>
        </p:txBody>
      </p:sp>
      <p:cxnSp>
        <p:nvCxnSpPr>
          <p:cNvPr id="195" name="Straight Arrow Connector 194">
            <a:extLst>
              <a:ext uri="{FF2B5EF4-FFF2-40B4-BE49-F238E27FC236}">
                <a16:creationId xmlns:a16="http://schemas.microsoft.com/office/drawing/2014/main" id="{C5DBFADD-FA91-4FFB-9012-C36B2A03DFE4}"/>
              </a:ext>
            </a:extLst>
          </p:cNvPr>
          <p:cNvCxnSpPr>
            <a:cxnSpLocks/>
          </p:cNvCxnSpPr>
          <p:nvPr/>
        </p:nvCxnSpPr>
        <p:spPr>
          <a:xfrm flipH="1" flipV="1">
            <a:off x="8022041" y="3141213"/>
            <a:ext cx="255046" cy="70710"/>
          </a:xfrm>
          <a:prstGeom prst="straightConnector1">
            <a:avLst/>
          </a:prstGeom>
          <a:ln>
            <a:solidFill>
              <a:srgbClr val="B11C27"/>
            </a:solidFill>
            <a:tailEnd type="triangle"/>
          </a:ln>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7BE6936C-3489-47B7-87BD-AB0180520079}"/>
              </a:ext>
            </a:extLst>
          </p:cNvPr>
          <p:cNvSpPr/>
          <p:nvPr/>
        </p:nvSpPr>
        <p:spPr>
          <a:xfrm>
            <a:off x="8155497" y="3130130"/>
            <a:ext cx="485431" cy="163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ilter</a:t>
            </a:r>
            <a:endParaRPr lang="en-US" sz="1000" dirty="0">
              <a:solidFill>
                <a:schemeClr val="tx1"/>
              </a:solidFill>
            </a:endParaRPr>
          </a:p>
        </p:txBody>
      </p:sp>
    </p:spTree>
    <p:extLst>
      <p:ext uri="{BB962C8B-B14F-4D97-AF65-F5344CB8AC3E}">
        <p14:creationId xmlns:p14="http://schemas.microsoft.com/office/powerpoint/2010/main" val="24091017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98229D7-A0C3-4F84-AA54-7874F824E7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631" imgH="631" progId="TCLayout.ActiveDocument.1">
                  <p:embed/>
                </p:oleObj>
              </mc:Choice>
              <mc:Fallback>
                <p:oleObj name="think-cell Slide" r:id="rId5" imgW="631" imgH="631" progId="TCLayout.ActiveDocument.1">
                  <p:embed/>
                  <p:pic>
                    <p:nvPicPr>
                      <p:cNvPr id="11" name="Object 10" hidden="1">
                        <a:extLst>
                          <a:ext uri="{FF2B5EF4-FFF2-40B4-BE49-F238E27FC236}">
                            <a16:creationId xmlns:a16="http://schemas.microsoft.com/office/drawing/2014/main" id="{598229D7-A0C3-4F84-AA54-7874F824E7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907B91-3B04-4138-B21A-24294518DB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ym typeface="+mn-lt"/>
            </a:endParaRPr>
          </a:p>
        </p:txBody>
      </p:sp>
      <p:sp>
        <p:nvSpPr>
          <p:cNvPr id="129" name="TextBox 128">
            <a:extLst>
              <a:ext uri="{FF2B5EF4-FFF2-40B4-BE49-F238E27FC236}">
                <a16:creationId xmlns:a16="http://schemas.microsoft.com/office/drawing/2014/main" id="{4DC65E4E-399A-43A7-85FE-541A4E4199CF}"/>
              </a:ext>
            </a:extLst>
          </p:cNvPr>
          <p:cNvSpPr txBox="1"/>
          <p:nvPr/>
        </p:nvSpPr>
        <p:spPr>
          <a:xfrm>
            <a:off x="175490" y="181525"/>
            <a:ext cx="11739417" cy="369332"/>
          </a:xfrm>
          <a:prstGeom prst="rect">
            <a:avLst/>
          </a:prstGeom>
          <a:noFill/>
        </p:spPr>
        <p:txBody>
          <a:bodyPr wrap="square" rtlCol="0">
            <a:spAutoFit/>
          </a:bodyPr>
          <a:lstStyle/>
          <a:p>
            <a:pPr algn="l"/>
            <a:r>
              <a:rPr lang="en-US" b="1" u="sng" dirty="0">
                <a:latin typeface="Arial" panose="020B0604020202020204" pitchFamily="34" charset="0"/>
                <a:cs typeface="Arial" panose="020B0604020202020204" pitchFamily="34" charset="0"/>
              </a:rPr>
              <a:t>How To Construct (2 of 2)</a:t>
            </a:r>
          </a:p>
        </p:txBody>
      </p:sp>
      <p:sp>
        <p:nvSpPr>
          <p:cNvPr id="16" name="Rectangle 15">
            <a:extLst>
              <a:ext uri="{FF2B5EF4-FFF2-40B4-BE49-F238E27FC236}">
                <a16:creationId xmlns:a16="http://schemas.microsoft.com/office/drawing/2014/main" id="{C5B602EA-7020-48E0-8534-5632D7268036}"/>
              </a:ext>
            </a:extLst>
          </p:cNvPr>
          <p:cNvSpPr/>
          <p:nvPr/>
        </p:nvSpPr>
        <p:spPr>
          <a:xfrm>
            <a:off x="10962942" y="149879"/>
            <a:ext cx="1002766" cy="266378"/>
          </a:xfrm>
          <a:prstGeom prst="rect">
            <a:avLst/>
          </a:pr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8 of 9 </a:t>
            </a:r>
          </a:p>
        </p:txBody>
      </p:sp>
      <p:sp>
        <p:nvSpPr>
          <p:cNvPr id="8" name="TextBox 7">
            <a:extLst>
              <a:ext uri="{FF2B5EF4-FFF2-40B4-BE49-F238E27FC236}">
                <a16:creationId xmlns:a16="http://schemas.microsoft.com/office/drawing/2014/main" id="{78AFED32-7E4A-471A-A82D-FAF3C2CE9368}"/>
              </a:ext>
            </a:extLst>
          </p:cNvPr>
          <p:cNvSpPr txBox="1"/>
          <p:nvPr/>
        </p:nvSpPr>
        <p:spPr>
          <a:xfrm>
            <a:off x="226291" y="708183"/>
            <a:ext cx="11739417" cy="307777"/>
          </a:xfrm>
          <a:prstGeom prst="rect">
            <a:avLst/>
          </a:prstGeom>
          <a:noFill/>
        </p:spPr>
        <p:txBody>
          <a:bodyPr wrap="square" rtlCol="0">
            <a:spAutoFit/>
          </a:bodyPr>
          <a:lstStyle/>
          <a:p>
            <a:pPr marL="285750" indent="-285750" algn="l">
              <a:spcBef>
                <a:spcPts val="400"/>
              </a:spcBef>
              <a:spcAft>
                <a:spcPts val="400"/>
              </a:spcAft>
              <a:buFont typeface="Wingdings" panose="05000000000000000000" pitchFamily="2" charset="2"/>
              <a:buChar char="§"/>
            </a:pPr>
            <a:r>
              <a:rPr lang="en-US" sz="1400" b="1" dirty="0">
                <a:latin typeface="Arial" panose="020B0604020202020204" pitchFamily="34" charset="0"/>
                <a:cs typeface="Arial" panose="020B0604020202020204" pitchFamily="34" charset="0"/>
              </a:rPr>
              <a:t>Follow the steps in numerical order</a:t>
            </a:r>
          </a:p>
        </p:txBody>
      </p:sp>
      <p:sp>
        <p:nvSpPr>
          <p:cNvPr id="191" name="TextBox 190">
            <a:extLst>
              <a:ext uri="{FF2B5EF4-FFF2-40B4-BE49-F238E27FC236}">
                <a16:creationId xmlns:a16="http://schemas.microsoft.com/office/drawing/2014/main" id="{A1BBD4A6-AAE1-43E4-9F05-85508E17E60F}"/>
              </a:ext>
            </a:extLst>
          </p:cNvPr>
          <p:cNvSpPr txBox="1"/>
          <p:nvPr/>
        </p:nvSpPr>
        <p:spPr>
          <a:xfrm>
            <a:off x="226291" y="6279118"/>
            <a:ext cx="11739417" cy="340519"/>
          </a:xfrm>
          <a:prstGeom prst="roundRect">
            <a:avLst/>
          </a:prstGeom>
          <a:noFill/>
          <a:ln>
            <a:solidFill>
              <a:srgbClr val="EAEAEA"/>
            </a:solidFill>
          </a:ln>
        </p:spPr>
        <p:txBody>
          <a:bodyPr wrap="square" rtlCol="0" anchor="ctr">
            <a:spAutoFit/>
          </a:bodyPr>
          <a:lstStyle/>
          <a:p>
            <a:r>
              <a:rPr lang="en-US" sz="700" i="1" dirty="0"/>
              <a:t>Sources:</a:t>
            </a:r>
          </a:p>
          <a:p>
            <a:pPr marL="228600" indent="-228600">
              <a:buAutoNum type="arabicParenR"/>
            </a:pPr>
            <a:r>
              <a:rPr lang="en-US" sz="700" i="1" dirty="0"/>
              <a:t>Fan by Taylor Baldwin: www.taylorbaldwinstudio.com</a:t>
            </a:r>
          </a:p>
        </p:txBody>
      </p:sp>
      <p:sp>
        <p:nvSpPr>
          <p:cNvPr id="100" name="TextBox 99">
            <a:extLst>
              <a:ext uri="{FF2B5EF4-FFF2-40B4-BE49-F238E27FC236}">
                <a16:creationId xmlns:a16="http://schemas.microsoft.com/office/drawing/2014/main" id="{C496C1A9-926D-42CD-954E-7932873C6D54}"/>
              </a:ext>
            </a:extLst>
          </p:cNvPr>
          <p:cNvSpPr txBox="1"/>
          <p:nvPr/>
        </p:nvSpPr>
        <p:spPr>
          <a:xfrm>
            <a:off x="381825" y="1423292"/>
            <a:ext cx="265876" cy="307777"/>
          </a:xfrm>
          <a:prstGeom prst="rect">
            <a:avLst/>
          </a:prstGeom>
          <a:noFill/>
        </p:spPr>
        <p:txBody>
          <a:bodyPr wrap="square" rtlCol="0">
            <a:spAutoFit/>
          </a:bodyPr>
          <a:lstStyle/>
          <a:p>
            <a:pPr algn="l">
              <a:spcBef>
                <a:spcPts val="400"/>
              </a:spcBef>
              <a:spcAft>
                <a:spcPts val="400"/>
              </a:spcAft>
            </a:pPr>
            <a:r>
              <a:rPr lang="en-US" sz="1400" b="1" dirty="0">
                <a:latin typeface="Arial" panose="020B0604020202020204" pitchFamily="34" charset="0"/>
                <a:cs typeface="Arial" panose="020B0604020202020204" pitchFamily="34" charset="0"/>
              </a:rPr>
              <a:t>5</a:t>
            </a:r>
          </a:p>
        </p:txBody>
      </p:sp>
      <p:grpSp>
        <p:nvGrpSpPr>
          <p:cNvPr id="101" name="Group 100">
            <a:extLst>
              <a:ext uri="{FF2B5EF4-FFF2-40B4-BE49-F238E27FC236}">
                <a16:creationId xmlns:a16="http://schemas.microsoft.com/office/drawing/2014/main" id="{F832CE24-9368-409D-9868-DF958CD0AA20}"/>
              </a:ext>
            </a:extLst>
          </p:cNvPr>
          <p:cNvGrpSpPr/>
          <p:nvPr/>
        </p:nvGrpSpPr>
        <p:grpSpPr>
          <a:xfrm>
            <a:off x="647701" y="1699139"/>
            <a:ext cx="1868361" cy="1774311"/>
            <a:chOff x="4573588" y="1718549"/>
            <a:chExt cx="2258532" cy="2067639"/>
          </a:xfrm>
        </p:grpSpPr>
        <p:pic>
          <p:nvPicPr>
            <p:cNvPr id="118" name="Picture 117" descr="A picture containing text, drawing&#10;&#10;Description automatically generated">
              <a:extLst>
                <a:ext uri="{FF2B5EF4-FFF2-40B4-BE49-F238E27FC236}">
                  <a16:creationId xmlns:a16="http://schemas.microsoft.com/office/drawing/2014/main" id="{68A710A1-8F77-4737-BB9C-BCFE3952946E}"/>
                </a:ext>
              </a:extLst>
            </p:cNvPr>
            <p:cNvPicPr>
              <a:picLocks noChangeAspect="1"/>
            </p:cNvPicPr>
            <p:nvPr/>
          </p:nvPicPr>
          <p:blipFill rotWithShape="1">
            <a:blip r:embed="rId7">
              <a:extLst>
                <a:ext uri="{28A0092B-C50C-407E-A947-70E740481C1C}">
                  <a14:useLocalDpi xmlns:a14="http://schemas.microsoft.com/office/drawing/2010/main" val="0"/>
                </a:ext>
              </a:extLst>
            </a:blip>
            <a:srcRect l="21962" t="21508" r="2416" b="9261"/>
            <a:stretch/>
          </p:blipFill>
          <p:spPr>
            <a:xfrm>
              <a:off x="4573588" y="1718549"/>
              <a:ext cx="2258532" cy="2067639"/>
            </a:xfrm>
            <a:prstGeom prst="rect">
              <a:avLst/>
            </a:prstGeom>
          </p:spPr>
        </p:pic>
        <p:sp>
          <p:nvSpPr>
            <p:cNvPr id="119" name="Arrow: Down 118">
              <a:extLst>
                <a:ext uri="{FF2B5EF4-FFF2-40B4-BE49-F238E27FC236}">
                  <a16:creationId xmlns:a16="http://schemas.microsoft.com/office/drawing/2014/main" id="{3F56A0BC-7972-45E4-B577-9BDE0A201187}"/>
                </a:ext>
              </a:extLst>
            </p:cNvPr>
            <p:cNvSpPr/>
            <p:nvPr/>
          </p:nvSpPr>
          <p:spPr>
            <a:xfrm rot="5400000">
              <a:off x="6014123" y="2690845"/>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Arrow: Down 119">
              <a:extLst>
                <a:ext uri="{FF2B5EF4-FFF2-40B4-BE49-F238E27FC236}">
                  <a16:creationId xmlns:a16="http://schemas.microsoft.com/office/drawing/2014/main" id="{0FCFD287-DDDD-493B-A0DB-3D048D810A07}"/>
                </a:ext>
              </a:extLst>
            </p:cNvPr>
            <p:cNvSpPr/>
            <p:nvPr/>
          </p:nvSpPr>
          <p:spPr>
            <a:xfrm rot="5400000">
              <a:off x="6015037" y="2889860"/>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Arrow: Down 120">
              <a:extLst>
                <a:ext uri="{FF2B5EF4-FFF2-40B4-BE49-F238E27FC236}">
                  <a16:creationId xmlns:a16="http://schemas.microsoft.com/office/drawing/2014/main" id="{D1CA8F9F-DC84-40AC-806F-9E6CC6B04864}"/>
                </a:ext>
              </a:extLst>
            </p:cNvPr>
            <p:cNvSpPr/>
            <p:nvPr/>
          </p:nvSpPr>
          <p:spPr>
            <a:xfrm rot="5400000">
              <a:off x="6015037" y="3088878"/>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Arrow: Down 121">
              <a:extLst>
                <a:ext uri="{FF2B5EF4-FFF2-40B4-BE49-F238E27FC236}">
                  <a16:creationId xmlns:a16="http://schemas.microsoft.com/office/drawing/2014/main" id="{E45C77C3-2AB4-4EC7-AF4A-BC171624D76F}"/>
                </a:ext>
              </a:extLst>
            </p:cNvPr>
            <p:cNvSpPr/>
            <p:nvPr/>
          </p:nvSpPr>
          <p:spPr>
            <a:xfrm rot="5400000">
              <a:off x="6014123" y="2491828"/>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Arrow: Down 122">
              <a:extLst>
                <a:ext uri="{FF2B5EF4-FFF2-40B4-BE49-F238E27FC236}">
                  <a16:creationId xmlns:a16="http://schemas.microsoft.com/office/drawing/2014/main" id="{ED9055B5-A62C-4D08-AA2C-71F1DE5CBD21}"/>
                </a:ext>
              </a:extLst>
            </p:cNvPr>
            <p:cNvSpPr/>
            <p:nvPr/>
          </p:nvSpPr>
          <p:spPr>
            <a:xfrm rot="5400000">
              <a:off x="6014122" y="2292811"/>
              <a:ext cx="161925" cy="159543"/>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2" name="Rectangle 101">
            <a:extLst>
              <a:ext uri="{FF2B5EF4-FFF2-40B4-BE49-F238E27FC236}">
                <a16:creationId xmlns:a16="http://schemas.microsoft.com/office/drawing/2014/main" id="{F01F47C0-F4D5-470C-9F19-7BA5F6147C13}"/>
              </a:ext>
            </a:extLst>
          </p:cNvPr>
          <p:cNvSpPr/>
          <p:nvPr/>
        </p:nvSpPr>
        <p:spPr>
          <a:xfrm>
            <a:off x="3374707" y="2050566"/>
            <a:ext cx="2369880" cy="1200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000" dirty="0">
                <a:solidFill>
                  <a:schemeClr val="tx1"/>
                </a:solidFill>
              </a:rPr>
              <a:t>Place the fan in a room that typically contains people.</a:t>
            </a:r>
          </a:p>
          <a:p>
            <a:pPr marL="171450" indent="-171450">
              <a:buFont typeface="Arial" panose="020B0604020202020204" pitchFamily="34" charset="0"/>
              <a:buChar char="•"/>
            </a:pPr>
            <a:r>
              <a:rPr lang="en-US" sz="1000" dirty="0">
                <a:solidFill>
                  <a:schemeClr val="tx1"/>
                </a:solidFill>
              </a:rPr>
              <a:t>Turn on the fan.</a:t>
            </a:r>
          </a:p>
          <a:p>
            <a:pPr marL="171450" indent="-171450">
              <a:buFont typeface="Arial" panose="020B0604020202020204" pitchFamily="34" charset="0"/>
              <a:buChar char="•"/>
            </a:pPr>
            <a:endParaRPr lang="en-US" sz="1000" dirty="0">
              <a:solidFill>
                <a:schemeClr val="tx1"/>
              </a:solidFill>
            </a:endParaRPr>
          </a:p>
        </p:txBody>
      </p:sp>
      <p:sp>
        <p:nvSpPr>
          <p:cNvPr id="103" name="Freeform: Shape 102">
            <a:extLst>
              <a:ext uri="{FF2B5EF4-FFF2-40B4-BE49-F238E27FC236}">
                <a16:creationId xmlns:a16="http://schemas.microsoft.com/office/drawing/2014/main" id="{9A4B93EA-1C7F-49C7-881D-B3CDFF4C8140}"/>
              </a:ext>
            </a:extLst>
          </p:cNvPr>
          <p:cNvSpPr/>
          <p:nvPr/>
        </p:nvSpPr>
        <p:spPr>
          <a:xfrm>
            <a:off x="1875473" y="1929606"/>
            <a:ext cx="271462" cy="1321728"/>
          </a:xfrm>
          <a:custGeom>
            <a:avLst/>
            <a:gdLst>
              <a:gd name="connsiteX0" fmla="*/ 14287 w 271462"/>
              <a:gd name="connsiteY0" fmla="*/ 0 h 1321728"/>
              <a:gd name="connsiteX1" fmla="*/ 40481 w 271462"/>
              <a:gd name="connsiteY1" fmla="*/ 4763 h 1321728"/>
              <a:gd name="connsiteX2" fmla="*/ 59531 w 271462"/>
              <a:gd name="connsiteY2" fmla="*/ 9525 h 1321728"/>
              <a:gd name="connsiteX3" fmla="*/ 90487 w 271462"/>
              <a:gd name="connsiteY3" fmla="*/ 23813 h 1321728"/>
              <a:gd name="connsiteX4" fmla="*/ 107156 w 271462"/>
              <a:gd name="connsiteY4" fmla="*/ 28575 h 1321728"/>
              <a:gd name="connsiteX5" fmla="*/ 121443 w 271462"/>
              <a:gd name="connsiteY5" fmla="*/ 33338 h 1321728"/>
              <a:gd name="connsiteX6" fmla="*/ 140493 w 271462"/>
              <a:gd name="connsiteY6" fmla="*/ 38100 h 1321728"/>
              <a:gd name="connsiteX7" fmla="*/ 157162 w 271462"/>
              <a:gd name="connsiteY7" fmla="*/ 42863 h 1321728"/>
              <a:gd name="connsiteX8" fmla="*/ 176212 w 271462"/>
              <a:gd name="connsiteY8" fmla="*/ 45244 h 1321728"/>
              <a:gd name="connsiteX9" fmla="*/ 192881 w 271462"/>
              <a:gd name="connsiteY9" fmla="*/ 50007 h 1321728"/>
              <a:gd name="connsiteX10" fmla="*/ 207168 w 271462"/>
              <a:gd name="connsiteY10" fmla="*/ 59532 h 1321728"/>
              <a:gd name="connsiteX11" fmla="*/ 221456 w 271462"/>
              <a:gd name="connsiteY11" fmla="*/ 64294 h 1321728"/>
              <a:gd name="connsiteX12" fmla="*/ 230981 w 271462"/>
              <a:gd name="connsiteY12" fmla="*/ 71438 h 1321728"/>
              <a:gd name="connsiteX13" fmla="*/ 242887 w 271462"/>
              <a:gd name="connsiteY13" fmla="*/ 83344 h 1321728"/>
              <a:gd name="connsiteX14" fmla="*/ 250031 w 271462"/>
              <a:gd name="connsiteY14" fmla="*/ 104775 h 1321728"/>
              <a:gd name="connsiteX15" fmla="*/ 252412 w 271462"/>
              <a:gd name="connsiteY15" fmla="*/ 111919 h 1321728"/>
              <a:gd name="connsiteX16" fmla="*/ 259556 w 271462"/>
              <a:gd name="connsiteY16" fmla="*/ 114300 h 1321728"/>
              <a:gd name="connsiteX17" fmla="*/ 264318 w 271462"/>
              <a:gd name="connsiteY17" fmla="*/ 130969 h 1321728"/>
              <a:gd name="connsiteX18" fmla="*/ 266700 w 271462"/>
              <a:gd name="connsiteY18" fmla="*/ 138113 h 1321728"/>
              <a:gd name="connsiteX19" fmla="*/ 271462 w 271462"/>
              <a:gd name="connsiteY19" fmla="*/ 166688 h 1321728"/>
              <a:gd name="connsiteX20" fmla="*/ 269081 w 271462"/>
              <a:gd name="connsiteY20" fmla="*/ 202407 h 1321728"/>
              <a:gd name="connsiteX21" fmla="*/ 264318 w 271462"/>
              <a:gd name="connsiteY21" fmla="*/ 230982 h 1321728"/>
              <a:gd name="connsiteX22" fmla="*/ 261937 w 271462"/>
              <a:gd name="connsiteY22" fmla="*/ 254794 h 1321728"/>
              <a:gd name="connsiteX23" fmla="*/ 259556 w 271462"/>
              <a:gd name="connsiteY23" fmla="*/ 266700 h 1321728"/>
              <a:gd name="connsiteX24" fmla="*/ 254793 w 271462"/>
              <a:gd name="connsiteY24" fmla="*/ 292894 h 1321728"/>
              <a:gd name="connsiteX25" fmla="*/ 250031 w 271462"/>
              <a:gd name="connsiteY25" fmla="*/ 402432 h 1321728"/>
              <a:gd name="connsiteX26" fmla="*/ 245268 w 271462"/>
              <a:gd name="connsiteY26" fmla="*/ 440532 h 1321728"/>
              <a:gd name="connsiteX27" fmla="*/ 242887 w 271462"/>
              <a:gd name="connsiteY27" fmla="*/ 471488 h 1321728"/>
              <a:gd name="connsiteX28" fmla="*/ 240506 w 271462"/>
              <a:gd name="connsiteY28" fmla="*/ 485775 h 1321728"/>
              <a:gd name="connsiteX29" fmla="*/ 242887 w 271462"/>
              <a:gd name="connsiteY29" fmla="*/ 528638 h 1321728"/>
              <a:gd name="connsiteX30" fmla="*/ 245268 w 271462"/>
              <a:gd name="connsiteY30" fmla="*/ 540544 h 1321728"/>
              <a:gd name="connsiteX31" fmla="*/ 247650 w 271462"/>
              <a:gd name="connsiteY31" fmla="*/ 554832 h 1321728"/>
              <a:gd name="connsiteX32" fmla="*/ 252412 w 271462"/>
              <a:gd name="connsiteY32" fmla="*/ 583407 h 1321728"/>
              <a:gd name="connsiteX33" fmla="*/ 254793 w 271462"/>
              <a:gd name="connsiteY33" fmla="*/ 604838 h 1321728"/>
              <a:gd name="connsiteX34" fmla="*/ 259556 w 271462"/>
              <a:gd name="connsiteY34" fmla="*/ 647700 h 1321728"/>
              <a:gd name="connsiteX35" fmla="*/ 264318 w 271462"/>
              <a:gd name="connsiteY35" fmla="*/ 676275 h 1321728"/>
              <a:gd name="connsiteX36" fmla="*/ 269081 w 271462"/>
              <a:gd name="connsiteY36" fmla="*/ 723900 h 1321728"/>
              <a:gd name="connsiteX37" fmla="*/ 271462 w 271462"/>
              <a:gd name="connsiteY37" fmla="*/ 781050 h 1321728"/>
              <a:gd name="connsiteX38" fmla="*/ 266700 w 271462"/>
              <a:gd name="connsiteY38" fmla="*/ 838200 h 1321728"/>
              <a:gd name="connsiteX39" fmla="*/ 264318 w 271462"/>
              <a:gd name="connsiteY39" fmla="*/ 864394 h 1321728"/>
              <a:gd name="connsiteX40" fmla="*/ 257175 w 271462"/>
              <a:gd name="connsiteY40" fmla="*/ 902494 h 1321728"/>
              <a:gd name="connsiteX41" fmla="*/ 254793 w 271462"/>
              <a:gd name="connsiteY41" fmla="*/ 923925 h 1321728"/>
              <a:gd name="connsiteX42" fmla="*/ 250031 w 271462"/>
              <a:gd name="connsiteY42" fmla="*/ 947738 h 1321728"/>
              <a:gd name="connsiteX43" fmla="*/ 247650 w 271462"/>
              <a:gd name="connsiteY43" fmla="*/ 973932 h 1321728"/>
              <a:gd name="connsiteX44" fmla="*/ 245268 w 271462"/>
              <a:gd name="connsiteY44" fmla="*/ 983457 h 1321728"/>
              <a:gd name="connsiteX45" fmla="*/ 240506 w 271462"/>
              <a:gd name="connsiteY45" fmla="*/ 1007269 h 1321728"/>
              <a:gd name="connsiteX46" fmla="*/ 235743 w 271462"/>
              <a:gd name="connsiteY46" fmla="*/ 1050132 h 1321728"/>
              <a:gd name="connsiteX47" fmla="*/ 233362 w 271462"/>
              <a:gd name="connsiteY47" fmla="*/ 1064419 h 1321728"/>
              <a:gd name="connsiteX48" fmla="*/ 238125 w 271462"/>
              <a:gd name="connsiteY48" fmla="*/ 1147763 h 1321728"/>
              <a:gd name="connsiteX49" fmla="*/ 242887 w 271462"/>
              <a:gd name="connsiteY49" fmla="*/ 1173957 h 1321728"/>
              <a:gd name="connsiteX50" fmla="*/ 240506 w 271462"/>
              <a:gd name="connsiteY50" fmla="*/ 1223963 h 1321728"/>
              <a:gd name="connsiteX51" fmla="*/ 235743 w 271462"/>
              <a:gd name="connsiteY51" fmla="*/ 1243013 h 1321728"/>
              <a:gd name="connsiteX52" fmla="*/ 228600 w 271462"/>
              <a:gd name="connsiteY52" fmla="*/ 1247775 h 1321728"/>
              <a:gd name="connsiteX53" fmla="*/ 216693 w 271462"/>
              <a:gd name="connsiteY53" fmla="*/ 1257300 h 1321728"/>
              <a:gd name="connsiteX54" fmla="*/ 209550 w 271462"/>
              <a:gd name="connsiteY54" fmla="*/ 1264444 h 1321728"/>
              <a:gd name="connsiteX55" fmla="*/ 192881 w 271462"/>
              <a:gd name="connsiteY55" fmla="*/ 1276350 h 1321728"/>
              <a:gd name="connsiteX56" fmla="*/ 185737 w 271462"/>
              <a:gd name="connsiteY56" fmla="*/ 1278732 h 1321728"/>
              <a:gd name="connsiteX57" fmla="*/ 159543 w 271462"/>
              <a:gd name="connsiteY57" fmla="*/ 1293019 h 1321728"/>
              <a:gd name="connsiteX58" fmla="*/ 126206 w 271462"/>
              <a:gd name="connsiteY58" fmla="*/ 1302544 h 1321728"/>
              <a:gd name="connsiteX59" fmla="*/ 116681 w 271462"/>
              <a:gd name="connsiteY59" fmla="*/ 1304925 h 1321728"/>
              <a:gd name="connsiteX60" fmla="*/ 100012 w 271462"/>
              <a:gd name="connsiteY60" fmla="*/ 1312069 h 1321728"/>
              <a:gd name="connsiteX61" fmla="*/ 90487 w 271462"/>
              <a:gd name="connsiteY61" fmla="*/ 1314450 h 1321728"/>
              <a:gd name="connsiteX62" fmla="*/ 69056 w 271462"/>
              <a:gd name="connsiteY62" fmla="*/ 1316832 h 1321728"/>
              <a:gd name="connsiteX63" fmla="*/ 19050 w 271462"/>
              <a:gd name="connsiteY63" fmla="*/ 1321594 h 1321728"/>
              <a:gd name="connsiteX64" fmla="*/ 0 w 271462"/>
              <a:gd name="connsiteY64" fmla="*/ 1321594 h 132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1462" h="1321728">
                <a:moveTo>
                  <a:pt x="14287" y="0"/>
                </a:moveTo>
                <a:cubicBezTo>
                  <a:pt x="49653" y="4422"/>
                  <a:pt x="21843" y="-319"/>
                  <a:pt x="40481" y="4763"/>
                </a:cubicBezTo>
                <a:cubicBezTo>
                  <a:pt x="46796" y="6485"/>
                  <a:pt x="53359" y="7347"/>
                  <a:pt x="59531" y="9525"/>
                </a:cubicBezTo>
                <a:cubicBezTo>
                  <a:pt x="88720" y="19827"/>
                  <a:pt x="71920" y="15856"/>
                  <a:pt x="90487" y="23813"/>
                </a:cubicBezTo>
                <a:cubicBezTo>
                  <a:pt x="96710" y="26480"/>
                  <a:pt x="100445" y="26562"/>
                  <a:pt x="107156" y="28575"/>
                </a:cubicBezTo>
                <a:cubicBezTo>
                  <a:pt x="111964" y="30018"/>
                  <a:pt x="116573" y="32121"/>
                  <a:pt x="121443" y="33338"/>
                </a:cubicBezTo>
                <a:cubicBezTo>
                  <a:pt x="127793" y="34925"/>
                  <a:pt x="134199" y="36302"/>
                  <a:pt x="140493" y="38100"/>
                </a:cubicBezTo>
                <a:cubicBezTo>
                  <a:pt x="146049" y="39688"/>
                  <a:pt x="151496" y="41730"/>
                  <a:pt x="157162" y="42863"/>
                </a:cubicBezTo>
                <a:cubicBezTo>
                  <a:pt x="163437" y="44118"/>
                  <a:pt x="169862" y="44450"/>
                  <a:pt x="176212" y="45244"/>
                </a:cubicBezTo>
                <a:cubicBezTo>
                  <a:pt x="181768" y="46832"/>
                  <a:pt x="187634" y="47585"/>
                  <a:pt x="192881" y="50007"/>
                </a:cubicBezTo>
                <a:cubicBezTo>
                  <a:pt x="198078" y="52406"/>
                  <a:pt x="201738" y="57722"/>
                  <a:pt x="207168" y="59532"/>
                </a:cubicBezTo>
                <a:lnTo>
                  <a:pt x="221456" y="64294"/>
                </a:lnTo>
                <a:cubicBezTo>
                  <a:pt x="224631" y="66675"/>
                  <a:pt x="227751" y="69131"/>
                  <a:pt x="230981" y="71438"/>
                </a:cubicBezTo>
                <a:cubicBezTo>
                  <a:pt x="237702" y="76239"/>
                  <a:pt x="239342" y="75367"/>
                  <a:pt x="242887" y="83344"/>
                </a:cubicBezTo>
                <a:cubicBezTo>
                  <a:pt x="242888" y="83346"/>
                  <a:pt x="248840" y="101202"/>
                  <a:pt x="250031" y="104775"/>
                </a:cubicBezTo>
                <a:cubicBezTo>
                  <a:pt x="250825" y="107156"/>
                  <a:pt x="250031" y="111125"/>
                  <a:pt x="252412" y="111919"/>
                </a:cubicBezTo>
                <a:lnTo>
                  <a:pt x="259556" y="114300"/>
                </a:lnTo>
                <a:cubicBezTo>
                  <a:pt x="265272" y="131449"/>
                  <a:pt x="258330" y="110012"/>
                  <a:pt x="264318" y="130969"/>
                </a:cubicBezTo>
                <a:cubicBezTo>
                  <a:pt x="265008" y="133383"/>
                  <a:pt x="266091" y="135678"/>
                  <a:pt x="266700" y="138113"/>
                </a:cubicBezTo>
                <a:cubicBezTo>
                  <a:pt x="269021" y="147394"/>
                  <a:pt x="270119" y="157285"/>
                  <a:pt x="271462" y="166688"/>
                </a:cubicBezTo>
                <a:cubicBezTo>
                  <a:pt x="270668" y="178594"/>
                  <a:pt x="270161" y="190523"/>
                  <a:pt x="269081" y="202407"/>
                </a:cubicBezTo>
                <a:cubicBezTo>
                  <a:pt x="268096" y="213242"/>
                  <a:pt x="266381" y="220668"/>
                  <a:pt x="264318" y="230982"/>
                </a:cubicBezTo>
                <a:cubicBezTo>
                  <a:pt x="263524" y="238919"/>
                  <a:pt x="262991" y="246887"/>
                  <a:pt x="261937" y="254794"/>
                </a:cubicBezTo>
                <a:cubicBezTo>
                  <a:pt x="261402" y="258806"/>
                  <a:pt x="260280" y="262718"/>
                  <a:pt x="259556" y="266700"/>
                </a:cubicBezTo>
                <a:cubicBezTo>
                  <a:pt x="253476" y="300143"/>
                  <a:pt x="260665" y="263544"/>
                  <a:pt x="254793" y="292894"/>
                </a:cubicBezTo>
                <a:cubicBezTo>
                  <a:pt x="253206" y="329407"/>
                  <a:pt x="251952" y="365935"/>
                  <a:pt x="250031" y="402432"/>
                </a:cubicBezTo>
                <a:cubicBezTo>
                  <a:pt x="248853" y="424809"/>
                  <a:pt x="248645" y="423651"/>
                  <a:pt x="245268" y="440532"/>
                </a:cubicBezTo>
                <a:cubicBezTo>
                  <a:pt x="244474" y="450851"/>
                  <a:pt x="243970" y="461196"/>
                  <a:pt x="242887" y="471488"/>
                </a:cubicBezTo>
                <a:cubicBezTo>
                  <a:pt x="242382" y="476289"/>
                  <a:pt x="240506" y="480947"/>
                  <a:pt x="240506" y="485775"/>
                </a:cubicBezTo>
                <a:cubicBezTo>
                  <a:pt x="240506" y="500085"/>
                  <a:pt x="241647" y="514382"/>
                  <a:pt x="242887" y="528638"/>
                </a:cubicBezTo>
                <a:cubicBezTo>
                  <a:pt x="243238" y="532670"/>
                  <a:pt x="244544" y="536562"/>
                  <a:pt x="245268" y="540544"/>
                </a:cubicBezTo>
                <a:cubicBezTo>
                  <a:pt x="246132" y="545295"/>
                  <a:pt x="246967" y="550052"/>
                  <a:pt x="247650" y="554832"/>
                </a:cubicBezTo>
                <a:cubicBezTo>
                  <a:pt x="251368" y="580852"/>
                  <a:pt x="248003" y="565770"/>
                  <a:pt x="252412" y="583407"/>
                </a:cubicBezTo>
                <a:cubicBezTo>
                  <a:pt x="253206" y="590551"/>
                  <a:pt x="254040" y="597690"/>
                  <a:pt x="254793" y="604838"/>
                </a:cubicBezTo>
                <a:cubicBezTo>
                  <a:pt x="255839" y="614778"/>
                  <a:pt x="257768" y="636972"/>
                  <a:pt x="259556" y="647700"/>
                </a:cubicBezTo>
                <a:cubicBezTo>
                  <a:pt x="264446" y="677044"/>
                  <a:pt x="259659" y="627363"/>
                  <a:pt x="264318" y="676275"/>
                </a:cubicBezTo>
                <a:cubicBezTo>
                  <a:pt x="269138" y="726881"/>
                  <a:pt x="264148" y="689366"/>
                  <a:pt x="269081" y="723900"/>
                </a:cubicBezTo>
                <a:cubicBezTo>
                  <a:pt x="269875" y="742950"/>
                  <a:pt x="271462" y="761983"/>
                  <a:pt x="271462" y="781050"/>
                </a:cubicBezTo>
                <a:cubicBezTo>
                  <a:pt x="271462" y="823404"/>
                  <a:pt x="269867" y="809699"/>
                  <a:pt x="266700" y="838200"/>
                </a:cubicBezTo>
                <a:cubicBezTo>
                  <a:pt x="265732" y="846914"/>
                  <a:pt x="265286" y="855680"/>
                  <a:pt x="264318" y="864394"/>
                </a:cubicBezTo>
                <a:cubicBezTo>
                  <a:pt x="262877" y="877358"/>
                  <a:pt x="260329" y="889875"/>
                  <a:pt x="257175" y="902494"/>
                </a:cubicBezTo>
                <a:cubicBezTo>
                  <a:pt x="256381" y="909638"/>
                  <a:pt x="255914" y="916825"/>
                  <a:pt x="254793" y="923925"/>
                </a:cubicBezTo>
                <a:cubicBezTo>
                  <a:pt x="253530" y="931921"/>
                  <a:pt x="251176" y="939725"/>
                  <a:pt x="250031" y="947738"/>
                </a:cubicBezTo>
                <a:cubicBezTo>
                  <a:pt x="248791" y="956417"/>
                  <a:pt x="248809" y="965242"/>
                  <a:pt x="247650" y="973932"/>
                </a:cubicBezTo>
                <a:cubicBezTo>
                  <a:pt x="247217" y="977176"/>
                  <a:pt x="245954" y="980257"/>
                  <a:pt x="245268" y="983457"/>
                </a:cubicBezTo>
                <a:cubicBezTo>
                  <a:pt x="243572" y="991372"/>
                  <a:pt x="241913" y="999298"/>
                  <a:pt x="240506" y="1007269"/>
                </a:cubicBezTo>
                <a:cubicBezTo>
                  <a:pt x="236958" y="1027374"/>
                  <a:pt x="238519" y="1026539"/>
                  <a:pt x="235743" y="1050132"/>
                </a:cubicBezTo>
                <a:cubicBezTo>
                  <a:pt x="235179" y="1054927"/>
                  <a:pt x="234156" y="1059657"/>
                  <a:pt x="233362" y="1064419"/>
                </a:cubicBezTo>
                <a:cubicBezTo>
                  <a:pt x="234787" y="1100043"/>
                  <a:pt x="234278" y="1116994"/>
                  <a:pt x="238125" y="1147763"/>
                </a:cubicBezTo>
                <a:cubicBezTo>
                  <a:pt x="239141" y="1155887"/>
                  <a:pt x="241262" y="1165830"/>
                  <a:pt x="242887" y="1173957"/>
                </a:cubicBezTo>
                <a:cubicBezTo>
                  <a:pt x="242093" y="1190626"/>
                  <a:pt x="241786" y="1207325"/>
                  <a:pt x="240506" y="1223963"/>
                </a:cubicBezTo>
                <a:cubicBezTo>
                  <a:pt x="240468" y="1224458"/>
                  <a:pt x="237647" y="1240633"/>
                  <a:pt x="235743" y="1243013"/>
                </a:cubicBezTo>
                <a:cubicBezTo>
                  <a:pt x="233955" y="1245248"/>
                  <a:pt x="230981" y="1246188"/>
                  <a:pt x="228600" y="1247775"/>
                </a:cubicBezTo>
                <a:cubicBezTo>
                  <a:pt x="217946" y="1263754"/>
                  <a:pt x="230497" y="1248097"/>
                  <a:pt x="216693" y="1257300"/>
                </a:cubicBezTo>
                <a:cubicBezTo>
                  <a:pt x="213891" y="1259168"/>
                  <a:pt x="212107" y="1262252"/>
                  <a:pt x="209550" y="1264444"/>
                </a:cubicBezTo>
                <a:cubicBezTo>
                  <a:pt x="208036" y="1265742"/>
                  <a:pt x="195900" y="1274841"/>
                  <a:pt x="192881" y="1276350"/>
                </a:cubicBezTo>
                <a:cubicBezTo>
                  <a:pt x="190636" y="1277473"/>
                  <a:pt x="187982" y="1277609"/>
                  <a:pt x="185737" y="1278732"/>
                </a:cubicBezTo>
                <a:cubicBezTo>
                  <a:pt x="172700" y="1285251"/>
                  <a:pt x="181118" y="1287625"/>
                  <a:pt x="159543" y="1293019"/>
                </a:cubicBezTo>
                <a:cubicBezTo>
                  <a:pt x="117787" y="1303459"/>
                  <a:pt x="160382" y="1292292"/>
                  <a:pt x="126206" y="1302544"/>
                </a:cubicBezTo>
                <a:cubicBezTo>
                  <a:pt x="123071" y="1303484"/>
                  <a:pt x="119828" y="1304026"/>
                  <a:pt x="116681" y="1304925"/>
                </a:cubicBezTo>
                <a:cubicBezTo>
                  <a:pt x="100128" y="1309655"/>
                  <a:pt x="120326" y="1304452"/>
                  <a:pt x="100012" y="1312069"/>
                </a:cubicBezTo>
                <a:cubicBezTo>
                  <a:pt x="96948" y="1313218"/>
                  <a:pt x="93722" y="1313952"/>
                  <a:pt x="90487" y="1314450"/>
                </a:cubicBezTo>
                <a:cubicBezTo>
                  <a:pt x="83383" y="1315543"/>
                  <a:pt x="76194" y="1315992"/>
                  <a:pt x="69056" y="1316832"/>
                </a:cubicBezTo>
                <a:cubicBezTo>
                  <a:pt x="46328" y="1319506"/>
                  <a:pt x="45728" y="1320324"/>
                  <a:pt x="19050" y="1321594"/>
                </a:cubicBezTo>
                <a:cubicBezTo>
                  <a:pt x="12707" y="1321896"/>
                  <a:pt x="6350" y="1321594"/>
                  <a:pt x="0" y="1321594"/>
                </a:cubicBezTo>
              </a:path>
            </a:pathLst>
          </a:cu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Arrow: Down 103">
            <a:extLst>
              <a:ext uri="{FF2B5EF4-FFF2-40B4-BE49-F238E27FC236}">
                <a16:creationId xmlns:a16="http://schemas.microsoft.com/office/drawing/2014/main" id="{6E4763ED-65E6-4E47-83C5-DC257738369E}"/>
              </a:ext>
            </a:extLst>
          </p:cNvPr>
          <p:cNvSpPr/>
          <p:nvPr/>
        </p:nvSpPr>
        <p:spPr>
          <a:xfrm rot="5400000">
            <a:off x="1984370" y="2538634"/>
            <a:ext cx="138953" cy="131981"/>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Arrow: Down 104">
            <a:extLst>
              <a:ext uri="{FF2B5EF4-FFF2-40B4-BE49-F238E27FC236}">
                <a16:creationId xmlns:a16="http://schemas.microsoft.com/office/drawing/2014/main" id="{16A6C4A9-E058-46AA-AFB5-004F0C096E90}"/>
              </a:ext>
            </a:extLst>
          </p:cNvPr>
          <p:cNvSpPr/>
          <p:nvPr/>
        </p:nvSpPr>
        <p:spPr>
          <a:xfrm rot="5400000">
            <a:off x="1985126" y="2709416"/>
            <a:ext cx="138953" cy="131981"/>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Arrow: Down 105">
            <a:extLst>
              <a:ext uri="{FF2B5EF4-FFF2-40B4-BE49-F238E27FC236}">
                <a16:creationId xmlns:a16="http://schemas.microsoft.com/office/drawing/2014/main" id="{0BF8B568-DF51-471E-89F4-F2B7681D659A}"/>
              </a:ext>
            </a:extLst>
          </p:cNvPr>
          <p:cNvSpPr/>
          <p:nvPr/>
        </p:nvSpPr>
        <p:spPr>
          <a:xfrm rot="5400000">
            <a:off x="1985126" y="2880200"/>
            <a:ext cx="138953" cy="131981"/>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Arrow: Down 106">
            <a:extLst>
              <a:ext uri="{FF2B5EF4-FFF2-40B4-BE49-F238E27FC236}">
                <a16:creationId xmlns:a16="http://schemas.microsoft.com/office/drawing/2014/main" id="{943CCD73-4875-4BFA-97FC-EEDD465C4FA7}"/>
              </a:ext>
            </a:extLst>
          </p:cNvPr>
          <p:cNvSpPr/>
          <p:nvPr/>
        </p:nvSpPr>
        <p:spPr>
          <a:xfrm rot="5400000">
            <a:off x="1984370" y="2367851"/>
            <a:ext cx="138953" cy="131981"/>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Arrow: Down 107">
            <a:extLst>
              <a:ext uri="{FF2B5EF4-FFF2-40B4-BE49-F238E27FC236}">
                <a16:creationId xmlns:a16="http://schemas.microsoft.com/office/drawing/2014/main" id="{72206C98-FD39-4DCE-B04A-D12AF1740884}"/>
              </a:ext>
            </a:extLst>
          </p:cNvPr>
          <p:cNvSpPr/>
          <p:nvPr/>
        </p:nvSpPr>
        <p:spPr>
          <a:xfrm rot="5400000">
            <a:off x="1984369" y="2197068"/>
            <a:ext cx="138953" cy="131981"/>
          </a:xfrm>
          <a:prstGeom prst="downArrow">
            <a:avLst/>
          </a:prstGeom>
          <a:solidFill>
            <a:srgbClr val="660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9" name="Straight Arrow Connector 108">
            <a:extLst>
              <a:ext uri="{FF2B5EF4-FFF2-40B4-BE49-F238E27FC236}">
                <a16:creationId xmlns:a16="http://schemas.microsoft.com/office/drawing/2014/main" id="{47A08263-4237-4507-A0A6-F65012DE0439}"/>
              </a:ext>
            </a:extLst>
          </p:cNvPr>
          <p:cNvCxnSpPr>
            <a:cxnSpLocks/>
          </p:cNvCxnSpPr>
          <p:nvPr/>
        </p:nvCxnSpPr>
        <p:spPr>
          <a:xfrm flipH="1">
            <a:off x="2074486" y="2082024"/>
            <a:ext cx="210562" cy="96647"/>
          </a:xfrm>
          <a:prstGeom prst="straightConnector1">
            <a:avLst/>
          </a:prstGeom>
          <a:ln>
            <a:solidFill>
              <a:srgbClr val="B11C27"/>
            </a:solidFill>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590C7301-F987-4923-A7F3-BECF953CA8D0}"/>
              </a:ext>
            </a:extLst>
          </p:cNvPr>
          <p:cNvSpPr/>
          <p:nvPr/>
        </p:nvSpPr>
        <p:spPr>
          <a:xfrm>
            <a:off x="2199666" y="1985453"/>
            <a:ext cx="485431" cy="163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ilter</a:t>
            </a:r>
            <a:endParaRPr lang="en-US" sz="1000" dirty="0">
              <a:solidFill>
                <a:schemeClr val="tx1"/>
              </a:solidFill>
            </a:endParaRPr>
          </a:p>
        </p:txBody>
      </p:sp>
      <p:sp>
        <p:nvSpPr>
          <p:cNvPr id="111" name="Freeform: Shape 110">
            <a:extLst>
              <a:ext uri="{FF2B5EF4-FFF2-40B4-BE49-F238E27FC236}">
                <a16:creationId xmlns:a16="http://schemas.microsoft.com/office/drawing/2014/main" id="{59A0002F-7003-44CD-A469-F757DE4ED3E5}"/>
              </a:ext>
            </a:extLst>
          </p:cNvPr>
          <p:cNvSpPr/>
          <p:nvPr/>
        </p:nvSpPr>
        <p:spPr>
          <a:xfrm>
            <a:off x="1875473" y="1934369"/>
            <a:ext cx="109562" cy="1321594"/>
          </a:xfrm>
          <a:custGeom>
            <a:avLst/>
            <a:gdLst>
              <a:gd name="connsiteX0" fmla="*/ 14287 w 109562"/>
              <a:gd name="connsiteY0" fmla="*/ 0 h 1321594"/>
              <a:gd name="connsiteX1" fmla="*/ 26193 w 109562"/>
              <a:gd name="connsiteY1" fmla="*/ 4762 h 1321594"/>
              <a:gd name="connsiteX2" fmla="*/ 33337 w 109562"/>
              <a:gd name="connsiteY2" fmla="*/ 9525 h 1321594"/>
              <a:gd name="connsiteX3" fmla="*/ 52387 w 109562"/>
              <a:gd name="connsiteY3" fmla="*/ 21431 h 1321594"/>
              <a:gd name="connsiteX4" fmla="*/ 66675 w 109562"/>
              <a:gd name="connsiteY4" fmla="*/ 38100 h 1321594"/>
              <a:gd name="connsiteX5" fmla="*/ 73818 w 109562"/>
              <a:gd name="connsiteY5" fmla="*/ 52387 h 1321594"/>
              <a:gd name="connsiteX6" fmla="*/ 78581 w 109562"/>
              <a:gd name="connsiteY6" fmla="*/ 59531 h 1321594"/>
              <a:gd name="connsiteX7" fmla="*/ 83343 w 109562"/>
              <a:gd name="connsiteY7" fmla="*/ 73819 h 1321594"/>
              <a:gd name="connsiteX8" fmla="*/ 85725 w 109562"/>
              <a:gd name="connsiteY8" fmla="*/ 100012 h 1321594"/>
              <a:gd name="connsiteX9" fmla="*/ 88106 w 109562"/>
              <a:gd name="connsiteY9" fmla="*/ 109537 h 1321594"/>
              <a:gd name="connsiteX10" fmla="*/ 97631 w 109562"/>
              <a:gd name="connsiteY10" fmla="*/ 123825 h 1321594"/>
              <a:gd name="connsiteX11" fmla="*/ 104775 w 109562"/>
              <a:gd name="connsiteY11" fmla="*/ 142875 h 1321594"/>
              <a:gd name="connsiteX12" fmla="*/ 109537 w 109562"/>
              <a:gd name="connsiteY12" fmla="*/ 173831 h 1321594"/>
              <a:gd name="connsiteX13" fmla="*/ 104775 w 109562"/>
              <a:gd name="connsiteY13" fmla="*/ 245269 h 1321594"/>
              <a:gd name="connsiteX14" fmla="*/ 102393 w 109562"/>
              <a:gd name="connsiteY14" fmla="*/ 266700 h 1321594"/>
              <a:gd name="connsiteX15" fmla="*/ 97631 w 109562"/>
              <a:gd name="connsiteY15" fmla="*/ 297656 h 1321594"/>
              <a:gd name="connsiteX16" fmla="*/ 95250 w 109562"/>
              <a:gd name="connsiteY16" fmla="*/ 326231 h 1321594"/>
              <a:gd name="connsiteX17" fmla="*/ 97631 w 109562"/>
              <a:gd name="connsiteY17" fmla="*/ 335756 h 1321594"/>
              <a:gd name="connsiteX18" fmla="*/ 100012 w 109562"/>
              <a:gd name="connsiteY18" fmla="*/ 359569 h 1321594"/>
              <a:gd name="connsiteX19" fmla="*/ 104775 w 109562"/>
              <a:gd name="connsiteY19" fmla="*/ 366712 h 1321594"/>
              <a:gd name="connsiteX20" fmla="*/ 109537 w 109562"/>
              <a:gd name="connsiteY20" fmla="*/ 385762 h 1321594"/>
              <a:gd name="connsiteX21" fmla="*/ 104775 w 109562"/>
              <a:gd name="connsiteY21" fmla="*/ 450056 h 1321594"/>
              <a:gd name="connsiteX22" fmla="*/ 97631 w 109562"/>
              <a:gd name="connsiteY22" fmla="*/ 473869 h 1321594"/>
              <a:gd name="connsiteX23" fmla="*/ 95250 w 109562"/>
              <a:gd name="connsiteY23" fmla="*/ 485775 h 1321594"/>
              <a:gd name="connsiteX24" fmla="*/ 90487 w 109562"/>
              <a:gd name="connsiteY24" fmla="*/ 507206 h 1321594"/>
              <a:gd name="connsiteX25" fmla="*/ 85725 w 109562"/>
              <a:gd name="connsiteY25" fmla="*/ 535781 h 1321594"/>
              <a:gd name="connsiteX26" fmla="*/ 80962 w 109562"/>
              <a:gd name="connsiteY26" fmla="*/ 559594 h 1321594"/>
              <a:gd name="connsiteX27" fmla="*/ 78581 w 109562"/>
              <a:gd name="connsiteY27" fmla="*/ 583406 h 1321594"/>
              <a:gd name="connsiteX28" fmla="*/ 80962 w 109562"/>
              <a:gd name="connsiteY28" fmla="*/ 616744 h 1321594"/>
              <a:gd name="connsiteX29" fmla="*/ 85725 w 109562"/>
              <a:gd name="connsiteY29" fmla="*/ 623887 h 1321594"/>
              <a:gd name="connsiteX30" fmla="*/ 88106 w 109562"/>
              <a:gd name="connsiteY30" fmla="*/ 631031 h 1321594"/>
              <a:gd name="connsiteX31" fmla="*/ 92868 w 109562"/>
              <a:gd name="connsiteY31" fmla="*/ 638175 h 1321594"/>
              <a:gd name="connsiteX32" fmla="*/ 97631 w 109562"/>
              <a:gd name="connsiteY32" fmla="*/ 650081 h 1321594"/>
              <a:gd name="connsiteX33" fmla="*/ 104775 w 109562"/>
              <a:gd name="connsiteY33" fmla="*/ 676275 h 1321594"/>
              <a:gd name="connsiteX34" fmla="*/ 102393 w 109562"/>
              <a:gd name="connsiteY34" fmla="*/ 728662 h 1321594"/>
              <a:gd name="connsiteX35" fmla="*/ 102393 w 109562"/>
              <a:gd name="connsiteY35" fmla="*/ 752475 h 1321594"/>
              <a:gd name="connsiteX36" fmla="*/ 100012 w 109562"/>
              <a:gd name="connsiteY36" fmla="*/ 888206 h 1321594"/>
              <a:gd name="connsiteX37" fmla="*/ 97631 w 109562"/>
              <a:gd name="connsiteY37" fmla="*/ 907256 h 1321594"/>
              <a:gd name="connsiteX38" fmla="*/ 92868 w 109562"/>
              <a:gd name="connsiteY38" fmla="*/ 942975 h 1321594"/>
              <a:gd name="connsiteX39" fmla="*/ 92868 w 109562"/>
              <a:gd name="connsiteY39" fmla="*/ 1083469 h 1321594"/>
              <a:gd name="connsiteX40" fmla="*/ 95250 w 109562"/>
              <a:gd name="connsiteY40" fmla="*/ 1090612 h 1321594"/>
              <a:gd name="connsiteX41" fmla="*/ 92868 w 109562"/>
              <a:gd name="connsiteY41" fmla="*/ 1159669 h 1321594"/>
              <a:gd name="connsiteX42" fmla="*/ 90487 w 109562"/>
              <a:gd name="connsiteY42" fmla="*/ 1169194 h 1321594"/>
              <a:gd name="connsiteX43" fmla="*/ 85725 w 109562"/>
              <a:gd name="connsiteY43" fmla="*/ 1209675 h 1321594"/>
              <a:gd name="connsiteX44" fmla="*/ 78581 w 109562"/>
              <a:gd name="connsiteY44" fmla="*/ 1238250 h 1321594"/>
              <a:gd name="connsiteX45" fmla="*/ 76200 w 109562"/>
              <a:gd name="connsiteY45" fmla="*/ 1245394 h 1321594"/>
              <a:gd name="connsiteX46" fmla="*/ 66675 w 109562"/>
              <a:gd name="connsiteY46" fmla="*/ 1252537 h 1321594"/>
              <a:gd name="connsiteX47" fmla="*/ 50006 w 109562"/>
              <a:gd name="connsiteY47" fmla="*/ 1269206 h 1321594"/>
              <a:gd name="connsiteX48" fmla="*/ 40481 w 109562"/>
              <a:gd name="connsiteY48" fmla="*/ 1278731 h 1321594"/>
              <a:gd name="connsiteX49" fmla="*/ 38100 w 109562"/>
              <a:gd name="connsiteY49" fmla="*/ 1285875 h 1321594"/>
              <a:gd name="connsiteX50" fmla="*/ 30956 w 109562"/>
              <a:gd name="connsiteY50" fmla="*/ 1290637 h 1321594"/>
              <a:gd name="connsiteX51" fmla="*/ 26193 w 109562"/>
              <a:gd name="connsiteY51" fmla="*/ 1297781 h 1321594"/>
              <a:gd name="connsiteX52" fmla="*/ 19050 w 109562"/>
              <a:gd name="connsiteY52" fmla="*/ 1312069 h 1321594"/>
              <a:gd name="connsiteX53" fmla="*/ 4762 w 109562"/>
              <a:gd name="connsiteY53" fmla="*/ 1319212 h 1321594"/>
              <a:gd name="connsiteX54" fmla="*/ 0 w 109562"/>
              <a:gd name="connsiteY54" fmla="*/ 1321594 h 132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562" h="1321594">
                <a:moveTo>
                  <a:pt x="14287" y="0"/>
                </a:moveTo>
                <a:cubicBezTo>
                  <a:pt x="18256" y="1587"/>
                  <a:pt x="22370" y="2850"/>
                  <a:pt x="26193" y="4762"/>
                </a:cubicBezTo>
                <a:cubicBezTo>
                  <a:pt x="28753" y="6042"/>
                  <a:pt x="30910" y="8008"/>
                  <a:pt x="33337" y="9525"/>
                </a:cubicBezTo>
                <a:cubicBezTo>
                  <a:pt x="56343" y="23904"/>
                  <a:pt x="36046" y="10538"/>
                  <a:pt x="52387" y="21431"/>
                </a:cubicBezTo>
                <a:cubicBezTo>
                  <a:pt x="63325" y="37836"/>
                  <a:pt x="49347" y="17883"/>
                  <a:pt x="66675" y="38100"/>
                </a:cubicBezTo>
                <a:cubicBezTo>
                  <a:pt x="74864" y="47654"/>
                  <a:pt x="68748" y="42247"/>
                  <a:pt x="73818" y="52387"/>
                </a:cubicBezTo>
                <a:cubicBezTo>
                  <a:pt x="75098" y="54947"/>
                  <a:pt x="76993" y="57150"/>
                  <a:pt x="78581" y="59531"/>
                </a:cubicBezTo>
                <a:cubicBezTo>
                  <a:pt x="80168" y="64294"/>
                  <a:pt x="82888" y="68819"/>
                  <a:pt x="83343" y="73819"/>
                </a:cubicBezTo>
                <a:cubicBezTo>
                  <a:pt x="84137" y="82550"/>
                  <a:pt x="84566" y="91322"/>
                  <a:pt x="85725" y="100012"/>
                </a:cubicBezTo>
                <a:cubicBezTo>
                  <a:pt x="86158" y="103256"/>
                  <a:pt x="86642" y="106610"/>
                  <a:pt x="88106" y="109537"/>
                </a:cubicBezTo>
                <a:cubicBezTo>
                  <a:pt x="90666" y="114657"/>
                  <a:pt x="95505" y="118510"/>
                  <a:pt x="97631" y="123825"/>
                </a:cubicBezTo>
                <a:cubicBezTo>
                  <a:pt x="99083" y="127455"/>
                  <a:pt x="103532" y="137905"/>
                  <a:pt x="104775" y="142875"/>
                </a:cubicBezTo>
                <a:cubicBezTo>
                  <a:pt x="107501" y="153780"/>
                  <a:pt x="108092" y="162270"/>
                  <a:pt x="109537" y="173831"/>
                </a:cubicBezTo>
                <a:cubicBezTo>
                  <a:pt x="107414" y="214172"/>
                  <a:pt x="108106" y="211964"/>
                  <a:pt x="104775" y="245269"/>
                </a:cubicBezTo>
                <a:cubicBezTo>
                  <a:pt x="104060" y="252421"/>
                  <a:pt x="103343" y="259575"/>
                  <a:pt x="102393" y="266700"/>
                </a:cubicBezTo>
                <a:cubicBezTo>
                  <a:pt x="99908" y="285339"/>
                  <a:pt x="99744" y="277585"/>
                  <a:pt x="97631" y="297656"/>
                </a:cubicBezTo>
                <a:cubicBezTo>
                  <a:pt x="96631" y="307162"/>
                  <a:pt x="96044" y="316706"/>
                  <a:pt x="95250" y="326231"/>
                </a:cubicBezTo>
                <a:cubicBezTo>
                  <a:pt x="96044" y="329406"/>
                  <a:pt x="97168" y="332516"/>
                  <a:pt x="97631" y="335756"/>
                </a:cubicBezTo>
                <a:cubicBezTo>
                  <a:pt x="98759" y="343653"/>
                  <a:pt x="98218" y="351796"/>
                  <a:pt x="100012" y="359569"/>
                </a:cubicBezTo>
                <a:cubicBezTo>
                  <a:pt x="100656" y="362357"/>
                  <a:pt x="103187" y="364331"/>
                  <a:pt x="104775" y="366712"/>
                </a:cubicBezTo>
                <a:cubicBezTo>
                  <a:pt x="106362" y="373062"/>
                  <a:pt x="109900" y="379227"/>
                  <a:pt x="109537" y="385762"/>
                </a:cubicBezTo>
                <a:cubicBezTo>
                  <a:pt x="108472" y="404928"/>
                  <a:pt x="107875" y="429911"/>
                  <a:pt x="104775" y="450056"/>
                </a:cubicBezTo>
                <a:cubicBezTo>
                  <a:pt x="102138" y="467193"/>
                  <a:pt x="101950" y="452270"/>
                  <a:pt x="97631" y="473869"/>
                </a:cubicBezTo>
                <a:cubicBezTo>
                  <a:pt x="96837" y="477838"/>
                  <a:pt x="96098" y="481818"/>
                  <a:pt x="95250" y="485775"/>
                </a:cubicBezTo>
                <a:cubicBezTo>
                  <a:pt x="93717" y="492931"/>
                  <a:pt x="91856" y="500017"/>
                  <a:pt x="90487" y="507206"/>
                </a:cubicBezTo>
                <a:cubicBezTo>
                  <a:pt x="88680" y="516692"/>
                  <a:pt x="87619" y="526312"/>
                  <a:pt x="85725" y="535781"/>
                </a:cubicBezTo>
                <a:cubicBezTo>
                  <a:pt x="84137" y="543719"/>
                  <a:pt x="81767" y="551539"/>
                  <a:pt x="80962" y="559594"/>
                </a:cubicBezTo>
                <a:lnTo>
                  <a:pt x="78581" y="583406"/>
                </a:lnTo>
                <a:cubicBezTo>
                  <a:pt x="79375" y="594519"/>
                  <a:pt x="79026" y="605773"/>
                  <a:pt x="80962" y="616744"/>
                </a:cubicBezTo>
                <a:cubicBezTo>
                  <a:pt x="81459" y="619562"/>
                  <a:pt x="84445" y="621327"/>
                  <a:pt x="85725" y="623887"/>
                </a:cubicBezTo>
                <a:cubicBezTo>
                  <a:pt x="86848" y="626132"/>
                  <a:pt x="86984" y="628786"/>
                  <a:pt x="88106" y="631031"/>
                </a:cubicBezTo>
                <a:cubicBezTo>
                  <a:pt x="89386" y="633591"/>
                  <a:pt x="91588" y="635615"/>
                  <a:pt x="92868" y="638175"/>
                </a:cubicBezTo>
                <a:cubicBezTo>
                  <a:pt x="94780" y="641998"/>
                  <a:pt x="96170" y="646064"/>
                  <a:pt x="97631" y="650081"/>
                </a:cubicBezTo>
                <a:cubicBezTo>
                  <a:pt x="103000" y="664845"/>
                  <a:pt x="101951" y="662158"/>
                  <a:pt x="104775" y="676275"/>
                </a:cubicBezTo>
                <a:cubicBezTo>
                  <a:pt x="103981" y="693737"/>
                  <a:pt x="103734" y="711233"/>
                  <a:pt x="102393" y="728662"/>
                </a:cubicBezTo>
                <a:cubicBezTo>
                  <a:pt x="100523" y="752966"/>
                  <a:pt x="96992" y="720066"/>
                  <a:pt x="102393" y="752475"/>
                </a:cubicBezTo>
                <a:cubicBezTo>
                  <a:pt x="101599" y="797719"/>
                  <a:pt x="101404" y="842977"/>
                  <a:pt x="100012" y="888206"/>
                </a:cubicBezTo>
                <a:cubicBezTo>
                  <a:pt x="99815" y="894602"/>
                  <a:pt x="98477" y="900913"/>
                  <a:pt x="97631" y="907256"/>
                </a:cubicBezTo>
                <a:cubicBezTo>
                  <a:pt x="91037" y="956717"/>
                  <a:pt x="99718" y="888191"/>
                  <a:pt x="92868" y="942975"/>
                </a:cubicBezTo>
                <a:cubicBezTo>
                  <a:pt x="90903" y="1007837"/>
                  <a:pt x="88659" y="1022451"/>
                  <a:pt x="92868" y="1083469"/>
                </a:cubicBezTo>
                <a:cubicBezTo>
                  <a:pt x="93041" y="1085973"/>
                  <a:pt x="94456" y="1088231"/>
                  <a:pt x="95250" y="1090612"/>
                </a:cubicBezTo>
                <a:cubicBezTo>
                  <a:pt x="94456" y="1113631"/>
                  <a:pt x="94261" y="1136679"/>
                  <a:pt x="92868" y="1159669"/>
                </a:cubicBezTo>
                <a:cubicBezTo>
                  <a:pt x="92670" y="1162936"/>
                  <a:pt x="91072" y="1165974"/>
                  <a:pt x="90487" y="1169194"/>
                </a:cubicBezTo>
                <a:cubicBezTo>
                  <a:pt x="88035" y="1182684"/>
                  <a:pt x="87163" y="1196020"/>
                  <a:pt x="85725" y="1209675"/>
                </a:cubicBezTo>
                <a:cubicBezTo>
                  <a:pt x="81742" y="1247508"/>
                  <a:pt x="87841" y="1219727"/>
                  <a:pt x="78581" y="1238250"/>
                </a:cubicBezTo>
                <a:cubicBezTo>
                  <a:pt x="77459" y="1240495"/>
                  <a:pt x="77807" y="1243466"/>
                  <a:pt x="76200" y="1245394"/>
                </a:cubicBezTo>
                <a:cubicBezTo>
                  <a:pt x="73659" y="1248443"/>
                  <a:pt x="69850" y="1250156"/>
                  <a:pt x="66675" y="1252537"/>
                </a:cubicBezTo>
                <a:cubicBezTo>
                  <a:pt x="55758" y="1268914"/>
                  <a:pt x="62580" y="1265015"/>
                  <a:pt x="50006" y="1269206"/>
                </a:cubicBezTo>
                <a:cubicBezTo>
                  <a:pt x="43657" y="1288257"/>
                  <a:pt x="53181" y="1266031"/>
                  <a:pt x="40481" y="1278731"/>
                </a:cubicBezTo>
                <a:cubicBezTo>
                  <a:pt x="38706" y="1280506"/>
                  <a:pt x="39668" y="1283915"/>
                  <a:pt x="38100" y="1285875"/>
                </a:cubicBezTo>
                <a:cubicBezTo>
                  <a:pt x="36312" y="1288110"/>
                  <a:pt x="33337" y="1289050"/>
                  <a:pt x="30956" y="1290637"/>
                </a:cubicBezTo>
                <a:cubicBezTo>
                  <a:pt x="29368" y="1293018"/>
                  <a:pt x="27473" y="1295221"/>
                  <a:pt x="26193" y="1297781"/>
                </a:cubicBezTo>
                <a:cubicBezTo>
                  <a:pt x="22320" y="1305527"/>
                  <a:pt x="25874" y="1305245"/>
                  <a:pt x="19050" y="1312069"/>
                </a:cubicBezTo>
                <a:cubicBezTo>
                  <a:pt x="13698" y="1317421"/>
                  <a:pt x="11218" y="1316629"/>
                  <a:pt x="4762" y="1319212"/>
                </a:cubicBezTo>
                <a:cubicBezTo>
                  <a:pt x="3114" y="1319871"/>
                  <a:pt x="1587" y="1320800"/>
                  <a:pt x="0" y="1321594"/>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3" name="Straight Arrow Connector 112">
            <a:extLst>
              <a:ext uri="{FF2B5EF4-FFF2-40B4-BE49-F238E27FC236}">
                <a16:creationId xmlns:a16="http://schemas.microsoft.com/office/drawing/2014/main" id="{E5259DB7-FB8A-43FC-B8D6-86E5396B41B8}"/>
              </a:ext>
            </a:extLst>
          </p:cNvPr>
          <p:cNvCxnSpPr>
            <a:cxnSpLocks/>
          </p:cNvCxnSpPr>
          <p:nvPr/>
        </p:nvCxnSpPr>
        <p:spPr>
          <a:xfrm flipH="1" flipV="1">
            <a:off x="2025217" y="3072960"/>
            <a:ext cx="255046" cy="70710"/>
          </a:xfrm>
          <a:prstGeom prst="straightConnector1">
            <a:avLst/>
          </a:prstGeom>
          <a:ln>
            <a:solidFill>
              <a:srgbClr val="B11C27"/>
            </a:solidFill>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CA3ED4EF-E91B-49B5-A38E-646B09758225}"/>
              </a:ext>
            </a:extLst>
          </p:cNvPr>
          <p:cNvSpPr/>
          <p:nvPr/>
        </p:nvSpPr>
        <p:spPr>
          <a:xfrm>
            <a:off x="2158673" y="3061877"/>
            <a:ext cx="485431" cy="163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ilter</a:t>
            </a:r>
            <a:endParaRPr lang="en-US" sz="1000" dirty="0">
              <a:solidFill>
                <a:schemeClr val="tx1"/>
              </a:solidFill>
            </a:endParaRPr>
          </a:p>
        </p:txBody>
      </p:sp>
    </p:spTree>
    <p:extLst>
      <p:ext uri="{BB962C8B-B14F-4D97-AF65-F5344CB8AC3E}">
        <p14:creationId xmlns:p14="http://schemas.microsoft.com/office/powerpoint/2010/main" val="41680203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98229D7-A0C3-4F84-AA54-7874F824E7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5" imgW="631" imgH="631" progId="TCLayout.ActiveDocument.1">
                  <p:embed/>
                </p:oleObj>
              </mc:Choice>
              <mc:Fallback>
                <p:oleObj name="think-cell Slide" r:id="rId5" imgW="631" imgH="631" progId="TCLayout.ActiveDocument.1">
                  <p:embed/>
                  <p:pic>
                    <p:nvPicPr>
                      <p:cNvPr id="11" name="Object 10" hidden="1">
                        <a:extLst>
                          <a:ext uri="{FF2B5EF4-FFF2-40B4-BE49-F238E27FC236}">
                            <a16:creationId xmlns:a16="http://schemas.microsoft.com/office/drawing/2014/main" id="{598229D7-A0C3-4F84-AA54-7874F824E7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907B91-3B04-4138-B21A-24294518DBC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ym typeface="+mn-lt"/>
            </a:endParaRPr>
          </a:p>
        </p:txBody>
      </p:sp>
      <p:sp>
        <p:nvSpPr>
          <p:cNvPr id="129" name="TextBox 128">
            <a:extLst>
              <a:ext uri="{FF2B5EF4-FFF2-40B4-BE49-F238E27FC236}">
                <a16:creationId xmlns:a16="http://schemas.microsoft.com/office/drawing/2014/main" id="{4DC65E4E-399A-43A7-85FE-541A4E4199CF}"/>
              </a:ext>
            </a:extLst>
          </p:cNvPr>
          <p:cNvSpPr txBox="1"/>
          <p:nvPr/>
        </p:nvSpPr>
        <p:spPr>
          <a:xfrm>
            <a:off x="175490" y="181525"/>
            <a:ext cx="11739417" cy="369332"/>
          </a:xfrm>
          <a:prstGeom prst="rect">
            <a:avLst/>
          </a:prstGeom>
          <a:noFill/>
        </p:spPr>
        <p:txBody>
          <a:bodyPr wrap="square" rtlCol="0">
            <a:spAutoFit/>
          </a:bodyPr>
          <a:lstStyle/>
          <a:p>
            <a:pPr algn="l"/>
            <a:r>
              <a:rPr lang="en-US" b="1" u="sng" dirty="0">
                <a:latin typeface="Arial" panose="020B0604020202020204" pitchFamily="34" charset="0"/>
                <a:cs typeface="Arial" panose="020B0604020202020204" pitchFamily="34" charset="0"/>
              </a:rPr>
              <a:t>Where’s the evidence?</a:t>
            </a:r>
          </a:p>
        </p:txBody>
      </p:sp>
      <p:sp>
        <p:nvSpPr>
          <p:cNvPr id="16" name="Rectangle 15">
            <a:extLst>
              <a:ext uri="{FF2B5EF4-FFF2-40B4-BE49-F238E27FC236}">
                <a16:creationId xmlns:a16="http://schemas.microsoft.com/office/drawing/2014/main" id="{C5B602EA-7020-48E0-8534-5632D7268036}"/>
              </a:ext>
            </a:extLst>
          </p:cNvPr>
          <p:cNvSpPr/>
          <p:nvPr/>
        </p:nvSpPr>
        <p:spPr>
          <a:xfrm>
            <a:off x="10962942" y="149879"/>
            <a:ext cx="1002766" cy="266378"/>
          </a:xfrm>
          <a:prstGeom prst="rect">
            <a:avLst/>
          </a:prstGeom>
          <a:noFill/>
          <a:ln>
            <a:solidFill>
              <a:srgbClr val="6602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9 of 9 </a:t>
            </a:r>
          </a:p>
        </p:txBody>
      </p:sp>
      <p:sp>
        <p:nvSpPr>
          <p:cNvPr id="8" name="TextBox 7">
            <a:extLst>
              <a:ext uri="{FF2B5EF4-FFF2-40B4-BE49-F238E27FC236}">
                <a16:creationId xmlns:a16="http://schemas.microsoft.com/office/drawing/2014/main" id="{78AFED32-7E4A-471A-A82D-FAF3C2CE9368}"/>
              </a:ext>
            </a:extLst>
          </p:cNvPr>
          <p:cNvSpPr txBox="1"/>
          <p:nvPr/>
        </p:nvSpPr>
        <p:spPr>
          <a:xfrm>
            <a:off x="226291" y="708183"/>
            <a:ext cx="11739417" cy="1159292"/>
          </a:xfrm>
          <a:prstGeom prst="rect">
            <a:avLst/>
          </a:prstGeom>
          <a:noFill/>
        </p:spPr>
        <p:txBody>
          <a:bodyPr wrap="square" rtlCol="0">
            <a:spAutoFit/>
          </a:bodyPr>
          <a:lstStyle/>
          <a:p>
            <a:pPr marL="285750" indent="-285750" algn="l">
              <a:spcBef>
                <a:spcPts val="400"/>
              </a:spcBef>
              <a:spcAft>
                <a:spcPts val="400"/>
              </a:spcAft>
              <a:buFont typeface="Wingdings" panose="05000000000000000000" pitchFamily="2" charset="2"/>
              <a:buChar char="§"/>
            </a:pPr>
            <a:r>
              <a:rPr lang="en-US" sz="1400" b="1" dirty="0">
                <a:latin typeface="Arial" panose="020B0604020202020204" pitchFamily="34" charset="0"/>
                <a:cs typeface="Arial" panose="020B0604020202020204" pitchFamily="34" charset="0"/>
              </a:rPr>
              <a:t>U.S. Government report from 2009 shows that a HEPA filter removed 99.9% of T7 Virus, a virus 20x smaller than Covid19</a:t>
            </a:r>
          </a:p>
          <a:p>
            <a:pPr marL="285750" indent="-285750" algn="l">
              <a:spcBef>
                <a:spcPts val="400"/>
              </a:spcBef>
              <a:spcAft>
                <a:spcPts val="400"/>
              </a:spcAft>
              <a:buFont typeface="Wingdings" panose="05000000000000000000" pitchFamily="2" charset="2"/>
              <a:buChar char="§"/>
            </a:pPr>
            <a:r>
              <a:rPr lang="en-US" sz="1400" b="1" dirty="0">
                <a:latin typeface="Arial" panose="020B0604020202020204" pitchFamily="34" charset="0"/>
                <a:cs typeface="Arial" panose="020B0604020202020204" pitchFamily="34" charset="0"/>
              </a:rPr>
              <a:t>This method displayed here uses EXACTLY the same filters used by HEPA filter products that cost hundreds of dollars</a:t>
            </a:r>
          </a:p>
          <a:p>
            <a:pPr marL="285750" indent="-285750" algn="l">
              <a:spcBef>
                <a:spcPts val="400"/>
              </a:spcBef>
              <a:spcAft>
                <a:spcPts val="400"/>
              </a:spcAft>
              <a:buFont typeface="Wingdings" panose="05000000000000000000" pitchFamily="2" charset="2"/>
              <a:buChar char="§"/>
            </a:pPr>
            <a:r>
              <a:rPr lang="en-US" sz="1400" b="1" dirty="0">
                <a:latin typeface="Arial" panose="020B0604020202020204" pitchFamily="34" charset="0"/>
                <a:cs typeface="Arial" panose="020B0604020202020204" pitchFamily="34" charset="0"/>
              </a:rPr>
              <a:t>The method displayed here is recommended by University of Michigan Medicine as a strong alternative to the several hundred dollar machines</a:t>
            </a:r>
          </a:p>
        </p:txBody>
      </p:sp>
      <p:graphicFrame>
        <p:nvGraphicFramePr>
          <p:cNvPr id="133" name="Table 7">
            <a:extLst>
              <a:ext uri="{FF2B5EF4-FFF2-40B4-BE49-F238E27FC236}">
                <a16:creationId xmlns:a16="http://schemas.microsoft.com/office/drawing/2014/main" id="{6754E41B-743D-4894-98F4-85E84AE5496A}"/>
              </a:ext>
            </a:extLst>
          </p:cNvPr>
          <p:cNvGraphicFramePr>
            <a:graphicFrameLocks noGrp="1"/>
          </p:cNvGraphicFramePr>
          <p:nvPr>
            <p:extLst>
              <p:ext uri="{D42A27DB-BD31-4B8C-83A1-F6EECF244321}">
                <p14:modId xmlns:p14="http://schemas.microsoft.com/office/powerpoint/2010/main" val="1452583446"/>
              </p:ext>
            </p:extLst>
          </p:nvPr>
        </p:nvGraphicFramePr>
        <p:xfrm>
          <a:off x="595061" y="2249978"/>
          <a:ext cx="4592794" cy="731520"/>
        </p:xfrm>
        <a:graphic>
          <a:graphicData uri="http://schemas.openxmlformats.org/drawingml/2006/table">
            <a:tbl>
              <a:tblPr firstRow="1" bandRow="1">
                <a:tableStyleId>{5C22544A-7EE6-4342-B048-85BDC9FD1C3A}</a:tableStyleId>
              </a:tblPr>
              <a:tblGrid>
                <a:gridCol w="1833814">
                  <a:extLst>
                    <a:ext uri="{9D8B030D-6E8A-4147-A177-3AD203B41FA5}">
                      <a16:colId xmlns:a16="http://schemas.microsoft.com/office/drawing/2014/main" val="1468568871"/>
                    </a:ext>
                  </a:extLst>
                </a:gridCol>
                <a:gridCol w="2758980">
                  <a:extLst>
                    <a:ext uri="{9D8B030D-6E8A-4147-A177-3AD203B41FA5}">
                      <a16:colId xmlns:a16="http://schemas.microsoft.com/office/drawing/2014/main" val="3402873440"/>
                    </a:ext>
                  </a:extLst>
                </a:gridCol>
              </a:tblGrid>
              <a:tr h="686526">
                <a:tc>
                  <a:txBody>
                    <a:bodyPr/>
                    <a:lstStyle/>
                    <a:p>
                      <a:pPr algn="ctr"/>
                      <a:r>
                        <a:rPr lang="en-US" sz="1400" dirty="0"/>
                        <a:t>Paper Name</a:t>
                      </a:r>
                    </a:p>
                  </a:txBody>
                  <a:tcPr anchor="ctr">
                    <a:lnB w="38100" cmpd="sng">
                      <a:noFill/>
                    </a:lnB>
                    <a:solidFill>
                      <a:srgbClr val="66023C"/>
                    </a:solidFill>
                  </a:tcPr>
                </a:tc>
                <a:tc>
                  <a:txBody>
                    <a:bodyPr/>
                    <a:lstStyle/>
                    <a:p>
                      <a:pPr marL="0" indent="0" algn="l">
                        <a:buFont typeface="Arial" panose="020B0604020202020204" pitchFamily="34" charset="0"/>
                        <a:buNone/>
                      </a:pPr>
                      <a:r>
                        <a:rPr lang="en-US" sz="1400" b="0" dirty="0">
                          <a:solidFill>
                            <a:schemeClr val="tx1"/>
                          </a:solidFill>
                        </a:rPr>
                        <a:t>Evaluation Of An Electronic Air Filter For Filtering Bacteria And Viruses From Indoor Air</a:t>
                      </a:r>
                    </a:p>
                  </a:txBody>
                  <a:tcPr anchor="ctr">
                    <a:lnB w="38100" cmpd="sng">
                      <a:noFill/>
                    </a:lnB>
                    <a:noFill/>
                  </a:tcPr>
                </a:tc>
                <a:extLst>
                  <a:ext uri="{0D108BD9-81ED-4DB2-BD59-A6C34878D82A}">
                    <a16:rowId xmlns:a16="http://schemas.microsoft.com/office/drawing/2014/main" val="3703857929"/>
                  </a:ext>
                </a:extLst>
              </a:tr>
            </a:tbl>
          </a:graphicData>
        </a:graphic>
      </p:graphicFrame>
      <p:graphicFrame>
        <p:nvGraphicFramePr>
          <p:cNvPr id="134" name="Table 7">
            <a:extLst>
              <a:ext uri="{FF2B5EF4-FFF2-40B4-BE49-F238E27FC236}">
                <a16:creationId xmlns:a16="http://schemas.microsoft.com/office/drawing/2014/main" id="{2428577E-A6AF-4319-8CCE-0C653422CC7D}"/>
              </a:ext>
            </a:extLst>
          </p:cNvPr>
          <p:cNvGraphicFramePr>
            <a:graphicFrameLocks noGrp="1"/>
          </p:cNvGraphicFramePr>
          <p:nvPr>
            <p:extLst>
              <p:ext uri="{D42A27DB-BD31-4B8C-83A1-F6EECF244321}">
                <p14:modId xmlns:p14="http://schemas.microsoft.com/office/powerpoint/2010/main" val="1646364998"/>
              </p:ext>
            </p:extLst>
          </p:nvPr>
        </p:nvGraphicFramePr>
        <p:xfrm>
          <a:off x="595061" y="3116326"/>
          <a:ext cx="4592794" cy="944880"/>
        </p:xfrm>
        <a:graphic>
          <a:graphicData uri="http://schemas.openxmlformats.org/drawingml/2006/table">
            <a:tbl>
              <a:tblPr firstRow="1" bandRow="1">
                <a:tableStyleId>{5C22544A-7EE6-4342-B048-85BDC9FD1C3A}</a:tableStyleId>
              </a:tblPr>
              <a:tblGrid>
                <a:gridCol w="1833814">
                  <a:extLst>
                    <a:ext uri="{9D8B030D-6E8A-4147-A177-3AD203B41FA5}">
                      <a16:colId xmlns:a16="http://schemas.microsoft.com/office/drawing/2014/main" val="1468568871"/>
                    </a:ext>
                  </a:extLst>
                </a:gridCol>
                <a:gridCol w="2758980">
                  <a:extLst>
                    <a:ext uri="{9D8B030D-6E8A-4147-A177-3AD203B41FA5}">
                      <a16:colId xmlns:a16="http://schemas.microsoft.com/office/drawing/2014/main" val="3402873440"/>
                    </a:ext>
                  </a:extLst>
                </a:gridCol>
              </a:tblGrid>
              <a:tr h="686526">
                <a:tc>
                  <a:txBody>
                    <a:bodyPr/>
                    <a:lstStyle/>
                    <a:p>
                      <a:pPr algn="ctr"/>
                      <a:r>
                        <a:rPr lang="en-US" sz="1400" dirty="0"/>
                        <a:t>Authors</a:t>
                      </a:r>
                    </a:p>
                  </a:txBody>
                  <a:tcPr anchor="ctr">
                    <a:lnB w="38100" cmpd="sng">
                      <a:noFill/>
                    </a:lnB>
                    <a:solidFill>
                      <a:srgbClr val="66023C"/>
                    </a:solidFill>
                  </a:tcPr>
                </a:tc>
                <a:tc>
                  <a:txBody>
                    <a:bodyPr/>
                    <a:lstStyle/>
                    <a:p>
                      <a:pPr marL="0" indent="0" algn="l">
                        <a:buFont typeface="Arial" panose="020B0604020202020204" pitchFamily="34" charset="0"/>
                        <a:buNone/>
                      </a:pPr>
                      <a:r>
                        <a:rPr lang="en-US" sz="1400" b="0" dirty="0" err="1">
                          <a:solidFill>
                            <a:schemeClr val="tx1"/>
                          </a:solidFill>
                        </a:rPr>
                        <a:t>Kaewjai</a:t>
                      </a:r>
                      <a:r>
                        <a:rPr lang="en-US" sz="1400" b="0" dirty="0">
                          <a:solidFill>
                            <a:schemeClr val="tx1"/>
                          </a:solidFill>
                        </a:rPr>
                        <a:t> </a:t>
                      </a:r>
                      <a:r>
                        <a:rPr lang="en-US" sz="1400" b="0" dirty="0" err="1">
                          <a:solidFill>
                            <a:schemeClr val="tx1"/>
                          </a:solidFill>
                        </a:rPr>
                        <a:t>Malaithao</a:t>
                      </a:r>
                      <a:r>
                        <a:rPr lang="en-US" sz="1400" b="0" dirty="0">
                          <a:solidFill>
                            <a:schemeClr val="tx1"/>
                          </a:solidFill>
                        </a:rPr>
                        <a:t>, </a:t>
                      </a:r>
                      <a:r>
                        <a:rPr lang="en-US" sz="1400" b="0" dirty="0" err="1">
                          <a:solidFill>
                            <a:schemeClr val="tx1"/>
                          </a:solidFill>
                        </a:rPr>
                        <a:t>Thareerat</a:t>
                      </a:r>
                      <a:r>
                        <a:rPr lang="en-US" sz="1400" b="0" dirty="0">
                          <a:solidFill>
                            <a:schemeClr val="tx1"/>
                          </a:solidFill>
                        </a:rPr>
                        <a:t> </a:t>
                      </a:r>
                      <a:r>
                        <a:rPr lang="en-US" sz="1400" b="0" dirty="0" err="1">
                          <a:solidFill>
                            <a:schemeClr val="tx1"/>
                          </a:solidFill>
                        </a:rPr>
                        <a:t>Kalambaheti</a:t>
                      </a:r>
                      <a:r>
                        <a:rPr lang="en-US" sz="1400" b="0" dirty="0">
                          <a:solidFill>
                            <a:schemeClr val="tx1"/>
                          </a:solidFill>
                        </a:rPr>
                        <a:t>, </a:t>
                      </a:r>
                      <a:r>
                        <a:rPr lang="en-US" sz="1400" b="0" dirty="0" err="1">
                          <a:solidFill>
                            <a:schemeClr val="tx1"/>
                          </a:solidFill>
                        </a:rPr>
                        <a:t>Suwalee</a:t>
                      </a:r>
                      <a:r>
                        <a:rPr lang="en-US" sz="1400" b="0" dirty="0">
                          <a:solidFill>
                            <a:schemeClr val="tx1"/>
                          </a:solidFill>
                        </a:rPr>
                        <a:t> </a:t>
                      </a:r>
                      <a:r>
                        <a:rPr lang="en-US" sz="1400" b="0" dirty="0" err="1">
                          <a:solidFill>
                            <a:schemeClr val="tx1"/>
                          </a:solidFill>
                        </a:rPr>
                        <a:t>Worakhunpiset</a:t>
                      </a:r>
                      <a:r>
                        <a:rPr lang="en-US" sz="1400" b="0" dirty="0">
                          <a:solidFill>
                            <a:schemeClr val="tx1"/>
                          </a:solidFill>
                        </a:rPr>
                        <a:t>, and </a:t>
                      </a:r>
                      <a:r>
                        <a:rPr lang="en-US" sz="1400" b="0" dirty="0" err="1">
                          <a:solidFill>
                            <a:schemeClr val="tx1"/>
                          </a:solidFill>
                        </a:rPr>
                        <a:t>Pongrama</a:t>
                      </a:r>
                      <a:r>
                        <a:rPr lang="en-US" sz="1400" b="0" dirty="0">
                          <a:solidFill>
                            <a:schemeClr val="tx1"/>
                          </a:solidFill>
                        </a:rPr>
                        <a:t> </a:t>
                      </a:r>
                      <a:r>
                        <a:rPr lang="en-US" sz="1400" b="0" dirty="0" err="1">
                          <a:solidFill>
                            <a:schemeClr val="tx1"/>
                          </a:solidFill>
                        </a:rPr>
                        <a:t>Ramasoota</a:t>
                      </a:r>
                      <a:endParaRPr lang="en-US" sz="1400" b="0" dirty="0">
                        <a:solidFill>
                          <a:schemeClr val="tx1"/>
                        </a:solidFill>
                      </a:endParaRPr>
                    </a:p>
                  </a:txBody>
                  <a:tcPr anchor="ctr">
                    <a:lnB w="38100" cmpd="sng">
                      <a:noFill/>
                    </a:lnB>
                    <a:noFill/>
                  </a:tcPr>
                </a:tc>
                <a:extLst>
                  <a:ext uri="{0D108BD9-81ED-4DB2-BD59-A6C34878D82A}">
                    <a16:rowId xmlns:a16="http://schemas.microsoft.com/office/drawing/2014/main" val="3703857929"/>
                  </a:ext>
                </a:extLst>
              </a:tr>
            </a:tbl>
          </a:graphicData>
        </a:graphic>
      </p:graphicFrame>
      <p:graphicFrame>
        <p:nvGraphicFramePr>
          <p:cNvPr id="135" name="Table 7">
            <a:extLst>
              <a:ext uri="{FF2B5EF4-FFF2-40B4-BE49-F238E27FC236}">
                <a16:creationId xmlns:a16="http://schemas.microsoft.com/office/drawing/2014/main" id="{A624BE4D-F69B-45FC-83FA-13E2B2252392}"/>
              </a:ext>
            </a:extLst>
          </p:cNvPr>
          <p:cNvGraphicFramePr>
            <a:graphicFrameLocks noGrp="1"/>
          </p:cNvGraphicFramePr>
          <p:nvPr>
            <p:extLst>
              <p:ext uri="{D42A27DB-BD31-4B8C-83A1-F6EECF244321}">
                <p14:modId xmlns:p14="http://schemas.microsoft.com/office/powerpoint/2010/main" val="1443435590"/>
              </p:ext>
            </p:extLst>
          </p:nvPr>
        </p:nvGraphicFramePr>
        <p:xfrm>
          <a:off x="595061" y="4227455"/>
          <a:ext cx="4592794" cy="731520"/>
        </p:xfrm>
        <a:graphic>
          <a:graphicData uri="http://schemas.openxmlformats.org/drawingml/2006/table">
            <a:tbl>
              <a:tblPr firstRow="1" bandRow="1">
                <a:tableStyleId>{5C22544A-7EE6-4342-B048-85BDC9FD1C3A}</a:tableStyleId>
              </a:tblPr>
              <a:tblGrid>
                <a:gridCol w="1833814">
                  <a:extLst>
                    <a:ext uri="{9D8B030D-6E8A-4147-A177-3AD203B41FA5}">
                      <a16:colId xmlns:a16="http://schemas.microsoft.com/office/drawing/2014/main" val="1468568871"/>
                    </a:ext>
                  </a:extLst>
                </a:gridCol>
                <a:gridCol w="2758980">
                  <a:extLst>
                    <a:ext uri="{9D8B030D-6E8A-4147-A177-3AD203B41FA5}">
                      <a16:colId xmlns:a16="http://schemas.microsoft.com/office/drawing/2014/main" val="3402873440"/>
                    </a:ext>
                  </a:extLst>
                </a:gridCol>
              </a:tblGrid>
              <a:tr h="686526">
                <a:tc>
                  <a:txBody>
                    <a:bodyPr/>
                    <a:lstStyle/>
                    <a:p>
                      <a:pPr algn="ctr"/>
                      <a:r>
                        <a:rPr lang="en-US" sz="1400" dirty="0"/>
                        <a:t>Free Link to Paper</a:t>
                      </a:r>
                    </a:p>
                  </a:txBody>
                  <a:tcPr anchor="ctr">
                    <a:lnB w="38100" cmpd="sng">
                      <a:noFill/>
                    </a:lnB>
                    <a:solidFill>
                      <a:srgbClr val="66023C"/>
                    </a:solidFill>
                  </a:tcPr>
                </a:tc>
                <a:tc>
                  <a:txBody>
                    <a:bodyPr/>
                    <a:lstStyle/>
                    <a:p>
                      <a:pPr marL="0" indent="0" algn="l">
                        <a:buFont typeface="Arial" panose="020B0604020202020204" pitchFamily="34" charset="0"/>
                        <a:buNone/>
                      </a:pPr>
                      <a:r>
                        <a:rPr lang="en-US" sz="1400" b="0" dirty="0">
                          <a:solidFill>
                            <a:schemeClr val="tx1"/>
                          </a:solidFill>
                        </a:rPr>
                        <a:t>https://pdfs.semanticscholar.org/eb59/ae12c70ae90b15bd15afa35cdb44837af89e.pdf</a:t>
                      </a:r>
                    </a:p>
                  </a:txBody>
                  <a:tcPr anchor="ctr">
                    <a:lnB w="38100" cmpd="sng">
                      <a:noFill/>
                    </a:lnB>
                    <a:noFill/>
                  </a:tcPr>
                </a:tc>
                <a:extLst>
                  <a:ext uri="{0D108BD9-81ED-4DB2-BD59-A6C34878D82A}">
                    <a16:rowId xmlns:a16="http://schemas.microsoft.com/office/drawing/2014/main" val="3703857929"/>
                  </a:ext>
                </a:extLst>
              </a:tr>
            </a:tbl>
          </a:graphicData>
        </a:graphic>
      </p:graphicFrame>
      <p:graphicFrame>
        <p:nvGraphicFramePr>
          <p:cNvPr id="136" name="Table 7">
            <a:extLst>
              <a:ext uri="{FF2B5EF4-FFF2-40B4-BE49-F238E27FC236}">
                <a16:creationId xmlns:a16="http://schemas.microsoft.com/office/drawing/2014/main" id="{0620CB77-9673-4BB8-996B-D22977478C01}"/>
              </a:ext>
            </a:extLst>
          </p:cNvPr>
          <p:cNvGraphicFramePr>
            <a:graphicFrameLocks noGrp="1"/>
          </p:cNvGraphicFramePr>
          <p:nvPr>
            <p:extLst>
              <p:ext uri="{D42A27DB-BD31-4B8C-83A1-F6EECF244321}">
                <p14:modId xmlns:p14="http://schemas.microsoft.com/office/powerpoint/2010/main" val="1814137590"/>
              </p:ext>
            </p:extLst>
          </p:nvPr>
        </p:nvGraphicFramePr>
        <p:xfrm>
          <a:off x="595061" y="5080229"/>
          <a:ext cx="4592794" cy="731520"/>
        </p:xfrm>
        <a:graphic>
          <a:graphicData uri="http://schemas.openxmlformats.org/drawingml/2006/table">
            <a:tbl>
              <a:tblPr firstRow="1" bandRow="1">
                <a:tableStyleId>{5C22544A-7EE6-4342-B048-85BDC9FD1C3A}</a:tableStyleId>
              </a:tblPr>
              <a:tblGrid>
                <a:gridCol w="1833814">
                  <a:extLst>
                    <a:ext uri="{9D8B030D-6E8A-4147-A177-3AD203B41FA5}">
                      <a16:colId xmlns:a16="http://schemas.microsoft.com/office/drawing/2014/main" val="1468568871"/>
                    </a:ext>
                  </a:extLst>
                </a:gridCol>
                <a:gridCol w="2758980">
                  <a:extLst>
                    <a:ext uri="{9D8B030D-6E8A-4147-A177-3AD203B41FA5}">
                      <a16:colId xmlns:a16="http://schemas.microsoft.com/office/drawing/2014/main" val="3402873440"/>
                    </a:ext>
                  </a:extLst>
                </a:gridCol>
              </a:tblGrid>
              <a:tr h="686526">
                <a:tc>
                  <a:txBody>
                    <a:bodyPr/>
                    <a:lstStyle/>
                    <a:p>
                      <a:pPr algn="ctr"/>
                      <a:r>
                        <a:rPr lang="en-US" sz="1400" dirty="0"/>
                        <a:t>Quotes</a:t>
                      </a:r>
                    </a:p>
                  </a:txBody>
                  <a:tcPr anchor="ctr">
                    <a:lnB w="38100" cmpd="sng">
                      <a:noFill/>
                    </a:lnB>
                    <a:solidFill>
                      <a:srgbClr val="66023C"/>
                    </a:solidFill>
                  </a:tcPr>
                </a:tc>
                <a:tc>
                  <a:txBody>
                    <a:bodyPr/>
                    <a:lstStyle/>
                    <a:p>
                      <a:pPr marL="0" indent="0" algn="l">
                        <a:buFont typeface="Arial" panose="020B0604020202020204" pitchFamily="34" charset="0"/>
                        <a:buNone/>
                      </a:pPr>
                      <a:r>
                        <a:rPr lang="en-US" sz="1400" b="0" dirty="0">
                          <a:solidFill>
                            <a:schemeClr val="tx1"/>
                          </a:solidFill>
                        </a:rPr>
                        <a:t>“The filtrating efficiency of the HEPA air filter for filtrating T7 virus was 99.9%</a:t>
                      </a:r>
                    </a:p>
                  </a:txBody>
                  <a:tcPr anchor="ctr">
                    <a:lnB w="38100" cmpd="sng">
                      <a:noFill/>
                    </a:lnB>
                    <a:noFill/>
                  </a:tcPr>
                </a:tc>
                <a:extLst>
                  <a:ext uri="{0D108BD9-81ED-4DB2-BD59-A6C34878D82A}">
                    <a16:rowId xmlns:a16="http://schemas.microsoft.com/office/drawing/2014/main" val="3703857929"/>
                  </a:ext>
                </a:extLst>
              </a:tr>
            </a:tbl>
          </a:graphicData>
        </a:graphic>
      </p:graphicFrame>
    </p:spTree>
    <p:extLst>
      <p:ext uri="{BB962C8B-B14F-4D97-AF65-F5344CB8AC3E}">
        <p14:creationId xmlns:p14="http://schemas.microsoft.com/office/powerpoint/2010/main" val="12001648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hxLqrzHSHO1vJe3fx6k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hxLqrzHSHO1vJe3fx6k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_hxLqrzHSHO1vJe3fx6k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_hxLqrzHSHO1vJe3fx6k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_hxLqrzHSHO1vJe3fx6k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hxLqrzHSHO1vJe3fx6k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hxLqrzHSHO1vJe3fx6k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hxLqrzHSHO1vJe3fx6k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_hxLqrzHSHO1vJe3fx6k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7</TotalTime>
  <Words>1249</Words>
  <Application>Microsoft Office PowerPoint</Application>
  <PresentationFormat>Widescreen</PresentationFormat>
  <Paragraphs>218</Paragraphs>
  <Slides>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Calibri</vt:lpstr>
      <vt:lpstr>Calibri Light</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mas Albert</dc:creator>
  <cp:lastModifiedBy>Tomas Albert</cp:lastModifiedBy>
  <cp:revision>2</cp:revision>
  <dcterms:created xsi:type="dcterms:W3CDTF">2020-03-12T18:12:47Z</dcterms:created>
  <dcterms:modified xsi:type="dcterms:W3CDTF">2020-03-13T21:22:43Z</dcterms:modified>
</cp:coreProperties>
</file>